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  <p:sldMasterId id="2147483664" r:id="rId3"/>
  </p:sldMasterIdLst>
  <p:notesMasterIdLst>
    <p:notesMasterId r:id="rId14"/>
  </p:notesMasterIdLst>
  <p:sldIdLst>
    <p:sldId id="386" r:id="rId4"/>
    <p:sldId id="376" r:id="rId5"/>
    <p:sldId id="389" r:id="rId6"/>
    <p:sldId id="390" r:id="rId7"/>
    <p:sldId id="385" r:id="rId8"/>
    <p:sldId id="387" r:id="rId9"/>
    <p:sldId id="388" r:id="rId10"/>
    <p:sldId id="391" r:id="rId11"/>
    <p:sldId id="392" r:id="rId12"/>
    <p:sldId id="393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43" autoAdjust="0"/>
    <p:restoredTop sz="94609" autoAdjust="0"/>
  </p:normalViewPr>
  <p:slideViewPr>
    <p:cSldViewPr snapToGrid="0">
      <p:cViewPr>
        <p:scale>
          <a:sx n="66" d="100"/>
          <a:sy n="66" d="100"/>
        </p:scale>
        <p:origin x="403" y="3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F5F6E-D58A-4C4A-84C6-624A21AFC8E0}" type="datetimeFigureOut">
              <a:rPr lang="zh-CN" altLang="en-US" smtClean="0"/>
              <a:t>2025/3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EEDEF-B665-4359-9B14-A69C9A2D9CB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7427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58190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12045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级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56"/>
          <p:cNvSpPr>
            <a:spLocks noEditPoints="1"/>
          </p:cNvSpPr>
          <p:nvPr userDrawn="1"/>
        </p:nvSpPr>
        <p:spPr bwMode="auto">
          <a:xfrm rot="9423817">
            <a:off x="1601991" y="-729467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pPr lvl="0"/>
            <a:endParaRPr lang="zh-CN" altLang="en-US" sz="2400"/>
          </a:p>
        </p:txBody>
      </p:sp>
      <p:sp>
        <p:nvSpPr>
          <p:cNvPr id="3" name="Freeform 156"/>
          <p:cNvSpPr>
            <a:spLocks noEditPoints="1"/>
          </p:cNvSpPr>
          <p:nvPr userDrawn="1"/>
        </p:nvSpPr>
        <p:spPr bwMode="auto">
          <a:xfrm rot="20140498">
            <a:off x="6611166" y="-3173431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4826836" y="2115823"/>
            <a:ext cx="2538333" cy="627472"/>
            <a:chOff x="3360674" y="1589916"/>
            <a:chExt cx="2485488" cy="614408"/>
          </a:xfrm>
        </p:grpSpPr>
        <p:sp>
          <p:nvSpPr>
            <p:cNvPr id="15" name="任意多边形 10"/>
            <p:cNvSpPr/>
            <p:nvPr/>
          </p:nvSpPr>
          <p:spPr>
            <a:xfrm>
              <a:off x="4939537" y="1589916"/>
              <a:ext cx="906625" cy="614408"/>
            </a:xfrm>
            <a:custGeom>
              <a:avLst/>
              <a:gdLst>
                <a:gd name="connsiteX0" fmla="*/ 0 w 1335937"/>
                <a:gd name="connsiteY0" fmla="*/ 0 h 905346"/>
                <a:gd name="connsiteX1" fmla="*/ 1203150 w 1335937"/>
                <a:gd name="connsiteY1" fmla="*/ 0 h 905346"/>
                <a:gd name="connsiteX2" fmla="*/ 1335937 w 1335937"/>
                <a:gd name="connsiteY2" fmla="*/ 132787 h 905346"/>
                <a:gd name="connsiteX3" fmla="*/ 1335937 w 1335937"/>
                <a:gd name="connsiteY3" fmla="*/ 772559 h 905346"/>
                <a:gd name="connsiteX4" fmla="*/ 1203150 w 1335937"/>
                <a:gd name="connsiteY4" fmla="*/ 905346 h 905346"/>
                <a:gd name="connsiteX5" fmla="*/ 0 w 1335937"/>
                <a:gd name="connsiteY5" fmla="*/ 905346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5937" h="905346">
                  <a:moveTo>
                    <a:pt x="0" y="0"/>
                  </a:moveTo>
                  <a:lnTo>
                    <a:pt x="1203150" y="0"/>
                  </a:lnTo>
                  <a:cubicBezTo>
                    <a:pt x="1276486" y="0"/>
                    <a:pt x="1335937" y="59451"/>
                    <a:pt x="1335937" y="132787"/>
                  </a:cubicBezTo>
                  <a:lnTo>
                    <a:pt x="1335937" y="772559"/>
                  </a:lnTo>
                  <a:cubicBezTo>
                    <a:pt x="1335937" y="845895"/>
                    <a:pt x="1276486" y="905346"/>
                    <a:pt x="1203150" y="905346"/>
                  </a:cubicBezTo>
                  <a:lnTo>
                    <a:pt x="0" y="905346"/>
                  </a:lnTo>
                  <a:close/>
                </a:path>
              </a:pathLst>
            </a:custGeom>
            <a:solidFill>
              <a:srgbClr val="00AB7A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 12"/>
            <p:cNvSpPr/>
            <p:nvPr/>
          </p:nvSpPr>
          <p:spPr>
            <a:xfrm>
              <a:off x="3360674" y="1589916"/>
              <a:ext cx="1578864" cy="614408"/>
            </a:xfrm>
            <a:custGeom>
              <a:avLst/>
              <a:gdLst>
                <a:gd name="connsiteX0" fmla="*/ 132787 w 2290286"/>
                <a:gd name="connsiteY0" fmla="*/ 0 h 905346"/>
                <a:gd name="connsiteX1" fmla="*/ 2290286 w 2290286"/>
                <a:gd name="connsiteY1" fmla="*/ 0 h 905346"/>
                <a:gd name="connsiteX2" fmla="*/ 2290286 w 2290286"/>
                <a:gd name="connsiteY2" fmla="*/ 905346 h 905346"/>
                <a:gd name="connsiteX3" fmla="*/ 132787 w 2290286"/>
                <a:gd name="connsiteY3" fmla="*/ 905346 h 905346"/>
                <a:gd name="connsiteX4" fmla="*/ 0 w 2290286"/>
                <a:gd name="connsiteY4" fmla="*/ 772559 h 905346"/>
                <a:gd name="connsiteX5" fmla="*/ 0 w 2290286"/>
                <a:gd name="connsiteY5" fmla="*/ 132787 h 905346"/>
                <a:gd name="connsiteX6" fmla="*/ 132787 w 2290286"/>
                <a:gd name="connsiteY6" fmla="*/ 0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0286" h="905346">
                  <a:moveTo>
                    <a:pt x="132787" y="0"/>
                  </a:moveTo>
                  <a:lnTo>
                    <a:pt x="2290286" y="0"/>
                  </a:lnTo>
                  <a:lnTo>
                    <a:pt x="2290286" y="905346"/>
                  </a:lnTo>
                  <a:lnTo>
                    <a:pt x="132787" y="905346"/>
                  </a:lnTo>
                  <a:cubicBezTo>
                    <a:pt x="59451" y="905346"/>
                    <a:pt x="0" y="845895"/>
                    <a:pt x="0" y="772559"/>
                  </a:cubicBezTo>
                  <a:lnTo>
                    <a:pt x="0" y="132787"/>
                  </a:lnTo>
                  <a:cubicBezTo>
                    <a:pt x="0" y="59451"/>
                    <a:pt x="59451" y="0"/>
                    <a:pt x="132787" y="0"/>
                  </a:cubicBezTo>
                  <a:close/>
                </a:path>
              </a:pathLst>
            </a:custGeom>
            <a:solidFill>
              <a:srgbClr val="4E576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r>
                <a:rPr lang="en-US" altLang="zh-CN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RT</a:t>
              </a:r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标题 10"/>
          <p:cNvSpPr>
            <a:spLocks noGrp="1"/>
          </p:cNvSpPr>
          <p:nvPr>
            <p:ph type="title"/>
          </p:nvPr>
        </p:nvSpPr>
        <p:spPr>
          <a:xfrm>
            <a:off x="3127563" y="2909057"/>
            <a:ext cx="5936875" cy="1925500"/>
          </a:xfrm>
          <a:prstGeom prst="rect">
            <a:avLst/>
          </a:prstGeom>
        </p:spPr>
        <p:txBody>
          <a:bodyPr/>
          <a:lstStyle>
            <a:lvl1pPr algn="ctr">
              <a:defRPr lang="zh-CN" altLang="en-US" sz="5335" b="1" kern="1200" dirty="0">
                <a:solidFill>
                  <a:srgbClr val="4E57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28566" y="2106681"/>
            <a:ext cx="2187497" cy="6274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zh-CN" altLang="en-US" sz="3200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lvl="0"/>
            <a:r>
              <a:rPr lang="zh-CN" altLang="en-US" dirty="0"/>
              <a:t>单击此处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30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4"/>
              </a:lnSpc>
              <a:defRPr sz="2742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1966312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9842" y="1956351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39625263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188F8A-125D-8544-935B-1F4A1B40B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5556D8D-75F5-B941-A727-9FF3FF8CA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F22885-A2E7-5249-88F5-F3DB020C7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C72AE40-246A-1E40-81B0-DD0AC2556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8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41178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167044"/>
            <a:ext cx="9144000" cy="23876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8227038" y="5548256"/>
            <a:ext cx="3255221" cy="43453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479" y="1326987"/>
            <a:ext cx="392228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57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579819" y="951941"/>
            <a:ext cx="3012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目录    </a:t>
            </a:r>
            <a:r>
              <a:rPr lang="en-US" altLang="zh-CN" sz="2400" dirty="0">
                <a:solidFill>
                  <a:srgbClr val="00A050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CONTENTS</a:t>
            </a:r>
            <a:endParaRPr lang="zh-CN" altLang="en-US" sz="2400" dirty="0">
              <a:solidFill>
                <a:srgbClr val="00A050"/>
              </a:solidFill>
              <a:latin typeface="方正兰亭中黑_GBK" panose="02000000000000000000" pitchFamily="2" charset="-122"/>
              <a:ea typeface="方正兰亭中黑_GBK" panose="02000000000000000000"/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1292804" y="999507"/>
            <a:ext cx="3385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rPr>
              <a:t>|</a:t>
            </a:r>
            <a:endParaRPr lang="zh-CN" altLang="en-US" sz="2000" dirty="0">
              <a:solidFill>
                <a:schemeClr val="bg1"/>
              </a:solidFill>
              <a:latin typeface="方正兰亭黑简体" panose="02000000000000000000" pitchFamily="2" charset="-122"/>
              <a:ea typeface="方正兰亭黑简体" panose="02000000000000000000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2411309"/>
            <a:ext cx="608490" cy="6025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3443837"/>
            <a:ext cx="608490" cy="6025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4476363"/>
            <a:ext cx="608490" cy="60252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2411309"/>
            <a:ext cx="608490" cy="6025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3443837"/>
            <a:ext cx="608490" cy="6025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4476363"/>
            <a:ext cx="608490" cy="602525"/>
          </a:xfrm>
          <a:prstGeom prst="rect">
            <a:avLst/>
          </a:prstGeom>
        </p:spPr>
      </p:pic>
      <p:sp>
        <p:nvSpPr>
          <p:cNvPr id="12" name="文本框 11"/>
          <p:cNvSpPr txBox="1"/>
          <p:nvPr userDrawn="1"/>
        </p:nvSpPr>
        <p:spPr>
          <a:xfrm>
            <a:off x="3416754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7643519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3416754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7643519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3416754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7643519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16" y="226941"/>
            <a:ext cx="1681198" cy="2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40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7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8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9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69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3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4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5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5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911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3"/>
            <a:ext cx="12192000" cy="568583"/>
          </a:xfrm>
          <a:prstGeom prst="rect">
            <a:avLst/>
          </a:prstGeom>
          <a:gradFill>
            <a:gsLst>
              <a:gs pos="90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51683" y="6390861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t>2025/3/19</a:t>
            </a:fld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170740" y="6397518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2" name="Freeform 34"/>
          <p:cNvSpPr/>
          <p:nvPr/>
        </p:nvSpPr>
        <p:spPr bwMode="auto">
          <a:xfrm>
            <a:off x="75389" y="193802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3" name="Freeform 34"/>
          <p:cNvSpPr/>
          <p:nvPr userDrawn="1"/>
        </p:nvSpPr>
        <p:spPr bwMode="auto">
          <a:xfrm>
            <a:off x="232807" y="316433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pPr lvl="0"/>
            <a:endParaRPr lang="zh-CN" altLang="en-US" sz="1800"/>
          </a:p>
        </p:txBody>
      </p:sp>
      <p:sp>
        <p:nvSpPr>
          <p:cNvPr id="48" name="Freeform 14"/>
          <p:cNvSpPr>
            <a:spLocks/>
          </p:cNvSpPr>
          <p:nvPr userDrawn="1"/>
        </p:nvSpPr>
        <p:spPr bwMode="auto">
          <a:xfrm>
            <a:off x="-304374" y="-458083"/>
            <a:ext cx="2678169" cy="1594655"/>
          </a:xfrm>
          <a:custGeom>
            <a:avLst/>
            <a:gdLst>
              <a:gd name="T0" fmla="*/ 233 w 240"/>
              <a:gd name="T1" fmla="*/ 98 h 143"/>
              <a:gd name="T2" fmla="*/ 0 w 240"/>
              <a:gd name="T3" fmla="*/ 52 h 143"/>
              <a:gd name="T4" fmla="*/ 5 w 240"/>
              <a:gd name="T5" fmla="*/ 66 h 143"/>
              <a:gd name="T6" fmla="*/ 37 w 240"/>
              <a:gd name="T7" fmla="*/ 58 h 143"/>
              <a:gd name="T8" fmla="*/ 71 w 240"/>
              <a:gd name="T9" fmla="*/ 58 h 143"/>
              <a:gd name="T10" fmla="*/ 112 w 240"/>
              <a:gd name="T11" fmla="*/ 71 h 143"/>
              <a:gd name="T12" fmla="*/ 148 w 240"/>
              <a:gd name="T13" fmla="*/ 97 h 143"/>
              <a:gd name="T14" fmla="*/ 174 w 240"/>
              <a:gd name="T15" fmla="*/ 122 h 143"/>
              <a:gd name="T16" fmla="*/ 194 w 240"/>
              <a:gd name="T17" fmla="*/ 136 h 143"/>
              <a:gd name="T18" fmla="*/ 233 w 240"/>
              <a:gd name="T19" fmla="*/ 129 h 143"/>
              <a:gd name="T20" fmla="*/ 233 w 240"/>
              <a:gd name="T21" fmla="*/ 9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0" h="143">
                <a:moveTo>
                  <a:pt x="233" y="98"/>
                </a:moveTo>
                <a:cubicBezTo>
                  <a:pt x="183" y="22"/>
                  <a:pt x="77" y="0"/>
                  <a:pt x="0" y="52"/>
                </a:cubicBezTo>
                <a:cubicBezTo>
                  <a:pt x="5" y="66"/>
                  <a:pt x="5" y="66"/>
                  <a:pt x="5" y="66"/>
                </a:cubicBezTo>
                <a:cubicBezTo>
                  <a:pt x="19" y="61"/>
                  <a:pt x="28" y="59"/>
                  <a:pt x="37" y="58"/>
                </a:cubicBezTo>
                <a:cubicBezTo>
                  <a:pt x="47" y="57"/>
                  <a:pt x="58" y="56"/>
                  <a:pt x="71" y="58"/>
                </a:cubicBezTo>
                <a:cubicBezTo>
                  <a:pt x="84" y="60"/>
                  <a:pt x="98" y="64"/>
                  <a:pt x="112" y="71"/>
                </a:cubicBezTo>
                <a:cubicBezTo>
                  <a:pt x="125" y="77"/>
                  <a:pt x="138" y="87"/>
                  <a:pt x="148" y="97"/>
                </a:cubicBezTo>
                <a:cubicBezTo>
                  <a:pt x="159" y="106"/>
                  <a:pt x="166" y="115"/>
                  <a:pt x="174" y="122"/>
                </a:cubicBezTo>
                <a:cubicBezTo>
                  <a:pt x="181" y="129"/>
                  <a:pt x="187" y="133"/>
                  <a:pt x="194" y="136"/>
                </a:cubicBezTo>
                <a:cubicBezTo>
                  <a:pt x="213" y="143"/>
                  <a:pt x="227" y="135"/>
                  <a:pt x="233" y="129"/>
                </a:cubicBezTo>
                <a:cubicBezTo>
                  <a:pt x="240" y="123"/>
                  <a:pt x="238" y="106"/>
                  <a:pt x="233" y="98"/>
                </a:cubicBezTo>
                <a:close/>
              </a:path>
            </a:pathLst>
          </a:custGeom>
          <a:solidFill>
            <a:srgbClr val="FFFFFF">
              <a:alpha val="15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zh-CN" altLang="en-US" sz="2400"/>
          </a:p>
        </p:txBody>
      </p:sp>
      <p:pic>
        <p:nvPicPr>
          <p:cNvPr id="57" name="图片 5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91933" y="149575"/>
            <a:ext cx="1302247" cy="32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35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9" y="219206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57" y="341835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10" y="170737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81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65" y="236493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1" y="219203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02" y="170734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709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7398"/>
            <a:ext cx="11487150" cy="835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zh-CN" altLang="en-US" sz="36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E0D00-7EAD-4356-8467-C7812806DE79}" type="datetime6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2025年3月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658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4">
            <a:extLst>
              <a:ext uri="{FF2B5EF4-FFF2-40B4-BE49-F238E27FC236}">
                <a16:creationId xmlns:a16="http://schemas.microsoft.com/office/drawing/2014/main" id="{ED1C66D3-B3C0-E04E-BCBF-06681F326A58}"/>
              </a:ext>
            </a:extLst>
          </p:cNvPr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667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E75F69F-D0AB-044E-8453-E1F063D20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64" y="86787"/>
            <a:ext cx="9970901" cy="50284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667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85EC10-3800-194B-A834-4B09AB82F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1739" y="6510792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pPr/>
              <a:t>2025/3/19</a:t>
            </a:fld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483FD097-C1F0-6043-BDBF-9B0505DF9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9580" y="6502853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1423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38733"/>
            <a:ext cx="10108323" cy="943760"/>
          </a:xfrm>
        </p:spPr>
        <p:txBody>
          <a:bodyPr>
            <a:normAutofit/>
          </a:bodyPr>
          <a:lstStyle>
            <a:lvl1pPr>
              <a:defRPr sz="2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489D9C7-5DC6-4263-87FF-7C99F6FB63C3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025/3/19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5DD3DB80-B894-403A-B48E-6FDC1A72010E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48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1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C6AC8E01-2ADE-4A6D-9E41-6025D9088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794A1FAE-D92C-E74B-B09C-977C2091DFC5}"/>
              </a:ext>
            </a:extLst>
          </p:cNvPr>
          <p:cNvSpPr/>
          <p:nvPr/>
        </p:nvSpPr>
        <p:spPr>
          <a:xfrm>
            <a:off x="390675" y="497330"/>
            <a:ext cx="94067" cy="571308"/>
          </a:xfrm>
          <a:prstGeom prst="rect">
            <a:avLst/>
          </a:prstGeom>
          <a:solidFill>
            <a:srgbClr val="03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7">
            <a:extLst>
              <a:ext uri="{FF2B5EF4-FFF2-40B4-BE49-F238E27FC236}">
                <a16:creationId xmlns:a16="http://schemas.microsoft.com/office/drawing/2014/main" id="{6C7C1439-6108-2D4A-BAD1-E2F99BA7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792" y="497330"/>
            <a:ext cx="10515600" cy="692494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ea"/>
                <a:ea typeface="+mn-ea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FD9903E-0FE1-4A68-86A3-3F6BB77E24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408" y="19455"/>
            <a:ext cx="1747553" cy="42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83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-2" y="302263"/>
            <a:ext cx="318036" cy="636071"/>
          </a:xfrm>
          <a:prstGeom prst="rect">
            <a:avLst/>
          </a:prstGeom>
          <a:solidFill>
            <a:srgbClr val="05A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内容占位符 11"/>
          <p:cNvSpPr>
            <a:spLocks noGrp="1"/>
          </p:cNvSpPr>
          <p:nvPr>
            <p:ph sz="quarter" idx="10" hasCustomPrompt="1"/>
          </p:nvPr>
        </p:nvSpPr>
        <p:spPr>
          <a:xfrm>
            <a:off x="535276" y="410486"/>
            <a:ext cx="11314979" cy="4617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lang="zh-CN" altLang="en-US" sz="2665" b="1" smtClean="0">
                <a:solidFill>
                  <a:srgbClr val="00A84B"/>
                </a:solidFill>
                <a:latin typeface="+mn-ea"/>
                <a:ea typeface="+mn-ea"/>
              </a:defRPr>
            </a:lvl1pPr>
            <a:lvl2pPr>
              <a:defRPr lang="zh-CN" altLang="en-US" sz="1800" smtClean="0"/>
            </a:lvl2pPr>
            <a:lvl3pPr>
              <a:defRPr lang="zh-CN" altLang="en-US" sz="1800" smtClean="0"/>
            </a:lvl3pPr>
            <a:lvl4pPr>
              <a:defRPr lang="zh-CN" altLang="en-US" sz="1800" smtClean="0"/>
            </a:lvl4pPr>
            <a:lvl5pPr>
              <a:defRPr lang="zh-CN" altLang="en-US" sz="1800"/>
            </a:lvl5pPr>
          </a:lstStyle>
          <a:p>
            <a:pPr marL="0" lvl="0" defTabSz="60960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99135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E7D652D-1363-8344-A126-36D2267E1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352425" y="1385047"/>
            <a:ext cx="11487150" cy="483795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1389197" y="6356349"/>
            <a:ext cx="477272" cy="365125"/>
          </a:xfrm>
        </p:spPr>
        <p:txBody>
          <a:bodyPr/>
          <a:lstStyle>
            <a:lvl1pPr algn="ctr"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C95446B-784D-4FBD-A3D4-20A46119C204}" type="slidenum">
              <a:rPr lang="zh-CN" alt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59806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37D04-45E0-416F-9EF5-28D233FA89E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3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47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83CBD57-4EA1-4B50-9AF5-90B21A6D2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1A1632-1599-4E42-86CE-CABAD62D8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5A63E3-9608-4684-BC4C-AB5D6F3EF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022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053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内容占位符 12"/>
          <p:cNvSpPr>
            <a:spLocks noGrp="1"/>
          </p:cNvSpPr>
          <p:nvPr>
            <p:ph sz="quarter" idx="10"/>
          </p:nvPr>
        </p:nvSpPr>
        <p:spPr>
          <a:xfrm>
            <a:off x="469409" y="1206500"/>
            <a:ext cx="11112355" cy="4191000"/>
          </a:xfrm>
        </p:spPr>
        <p:txBody>
          <a:bodyPr vert="horz"/>
          <a:lstStyle>
            <a:lvl1pPr>
              <a:buClrTx/>
              <a:defRPr sz="24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  <a:lvl2pPr>
              <a:buClrTx/>
              <a:defRPr sz="22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2pPr>
            <a:lvl3pPr>
              <a:buClrTx/>
              <a:defRPr sz="20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3pPr>
            <a:lvl4pPr>
              <a:buClrTx/>
              <a:defRPr sz="18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4pPr>
            <a:lvl5pPr>
              <a:buClrTx/>
              <a:defRPr sz="16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5pPr>
          </a:lstStyle>
          <a:p>
            <a:pPr lvl="0"/>
            <a:r>
              <a:rPr kumimoji="1" lang="zh-CN" altLang="en-US"/>
              <a:t>编辑母版文本样式
第二级
第三级
第四级
第五级</a:t>
            </a:r>
            <a:endParaRPr kumimoji="1"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9270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CD203-84D6-7744-B0E3-7D7782546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151D4B-BAC7-7749-A96C-76CF02EA6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9130B-CE31-9E43-8302-A8F9F7705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FE11D-7B77-784F-B648-D66B2578AA21}" type="datetimeFigureOut">
              <a:rPr lang="en-US" smtClean="0"/>
              <a:pPr/>
              <a:t>3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0AF6C-76CD-7B47-A727-D1E5D9CF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C8FDE-9F83-FC45-96DC-C85E0C11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F2D37-4B6A-B349-A06F-C13C21D1B4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87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E7122-C4E9-4CBF-B10F-3B8C4EEB7106}" type="datetimeFigureOut">
              <a:rPr lang="zh-CN" altLang="en-US" smtClean="0"/>
              <a:t>2025/3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E2A4B-4182-4DB2-8B5C-829AA077C9C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5718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10113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idx="1"/>
          </p:nvPr>
        </p:nvSpPr>
        <p:spPr>
          <a:xfrm>
            <a:off x="357188" y="1398494"/>
            <a:ext cx="11487150" cy="47737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52425" y="1119466"/>
            <a:ext cx="1151404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352425" y="574766"/>
            <a:ext cx="10515600" cy="4917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母版标题样式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50A948A-C8F2-744E-A026-3DC462DFC79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498" y="134145"/>
            <a:ext cx="1770435" cy="4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8605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1pPr>
      <a:lvl2pPr marL="538480" indent="-26987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 Unicode MS" panose="020B0604020202020204" pitchFamily="34" charset="-122"/>
        <a:buChar char="−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2pPr>
      <a:lvl3pPr marL="806450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ü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3pPr>
      <a:lvl4pPr marL="9017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18C6F3-2B34-4B42-B4C2-6DD7CC0250F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7430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9144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2" indent="-228622" algn="l" defTabSz="914489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7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56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45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0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3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79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5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9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4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78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3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67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12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56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8" Type="http://schemas.openxmlformats.org/officeDocument/2006/relationships/image" Target="NUL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流程图: 可选过程 87"/>
          <p:cNvSpPr/>
          <p:nvPr/>
        </p:nvSpPr>
        <p:spPr>
          <a:xfrm>
            <a:off x="3193423" y="888118"/>
            <a:ext cx="1073174" cy="288000"/>
          </a:xfrm>
          <a:prstGeom prst="flowChartAlternate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需求评审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89" name="直接箭头连接符 88"/>
          <p:cNvCxnSpPr>
            <a:stCxn id="88" idx="2"/>
            <a:endCxn id="156" idx="0"/>
          </p:cNvCxnSpPr>
          <p:nvPr/>
        </p:nvCxnSpPr>
        <p:spPr>
          <a:xfrm flipH="1">
            <a:off x="3730009" y="1176118"/>
            <a:ext cx="1" cy="294255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流程图: 过程 89"/>
          <p:cNvSpPr/>
          <p:nvPr/>
        </p:nvSpPr>
        <p:spPr>
          <a:xfrm>
            <a:off x="3193421" y="2040804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分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93" name="流程图: 决策 92"/>
          <p:cNvSpPr/>
          <p:nvPr/>
        </p:nvSpPr>
        <p:spPr>
          <a:xfrm>
            <a:off x="3028727" y="3139070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入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3730009" y="4518296"/>
            <a:ext cx="53658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9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通过</a:t>
            </a:r>
            <a:endParaRPr lang="zh-CN" altLang="en-US" sz="9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5" name="流程图: 过程 124"/>
          <p:cNvSpPr/>
          <p:nvPr/>
        </p:nvSpPr>
        <p:spPr>
          <a:xfrm>
            <a:off x="3193421" y="2589876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提测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7" name="直接箭头连接符 6"/>
          <p:cNvCxnSpPr>
            <a:stCxn id="90" idx="2"/>
            <a:endCxn id="125" idx="0"/>
          </p:cNvCxnSpPr>
          <p:nvPr/>
        </p:nvCxnSpPr>
        <p:spPr>
          <a:xfrm>
            <a:off x="3730009" y="2328804"/>
            <a:ext cx="0" cy="261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流程图: 过程 125"/>
          <p:cNvSpPr/>
          <p:nvPr/>
        </p:nvSpPr>
        <p:spPr>
          <a:xfrm>
            <a:off x="5015621" y="2590964"/>
            <a:ext cx="1076935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开发中</a:t>
            </a:r>
          </a:p>
        </p:txBody>
      </p:sp>
      <p:cxnSp>
        <p:nvCxnSpPr>
          <p:cNvPr id="9" name="直接箭头连接符 8"/>
          <p:cNvCxnSpPr>
            <a:stCxn id="125" idx="2"/>
            <a:endCxn id="93" idx="0"/>
          </p:cNvCxnSpPr>
          <p:nvPr/>
        </p:nvCxnSpPr>
        <p:spPr>
          <a:xfrm flipH="1">
            <a:off x="3730008" y="2877876"/>
            <a:ext cx="1" cy="2611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流程图: 过程 126"/>
          <p:cNvSpPr/>
          <p:nvPr/>
        </p:nvSpPr>
        <p:spPr>
          <a:xfrm>
            <a:off x="3193421" y="3662842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中</a:t>
            </a:r>
          </a:p>
        </p:txBody>
      </p:sp>
      <p:cxnSp>
        <p:nvCxnSpPr>
          <p:cNvPr id="13" name="直接箭头连接符 12"/>
          <p:cNvCxnSpPr>
            <a:stCxn id="93" idx="2"/>
            <a:endCxn id="127" idx="0"/>
          </p:cNvCxnSpPr>
          <p:nvPr/>
        </p:nvCxnSpPr>
        <p:spPr>
          <a:xfrm>
            <a:off x="3730008" y="3427070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流程图: 过程 128"/>
          <p:cNvSpPr/>
          <p:nvPr/>
        </p:nvSpPr>
        <p:spPr>
          <a:xfrm>
            <a:off x="3193422" y="480520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发布版本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6" name="肘形连接符 15"/>
          <p:cNvCxnSpPr>
            <a:stCxn id="93" idx="3"/>
            <a:endCxn id="126" idx="2"/>
          </p:cNvCxnSpPr>
          <p:nvPr/>
        </p:nvCxnSpPr>
        <p:spPr>
          <a:xfrm flipV="1">
            <a:off x="4431288" y="2878964"/>
            <a:ext cx="1122801" cy="4041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26" idx="1"/>
            <a:endCxn id="125" idx="3"/>
          </p:cNvCxnSpPr>
          <p:nvPr/>
        </p:nvCxnSpPr>
        <p:spPr>
          <a:xfrm flipH="1" flipV="1">
            <a:off x="4266597" y="2733876"/>
            <a:ext cx="749024" cy="1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27" idx="3"/>
            <a:endCxn id="126" idx="2"/>
          </p:cNvCxnSpPr>
          <p:nvPr/>
        </p:nvCxnSpPr>
        <p:spPr>
          <a:xfrm flipV="1">
            <a:off x="4266597" y="2878964"/>
            <a:ext cx="1287492" cy="92787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>
            <a:stCxn id="127" idx="2"/>
            <a:endCxn id="131" idx="0"/>
          </p:cNvCxnSpPr>
          <p:nvPr/>
        </p:nvCxnSpPr>
        <p:spPr>
          <a:xfrm flipH="1">
            <a:off x="3730008" y="3950842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31" idx="2"/>
            <a:endCxn id="129" idx="0"/>
          </p:cNvCxnSpPr>
          <p:nvPr/>
        </p:nvCxnSpPr>
        <p:spPr>
          <a:xfrm>
            <a:off x="3730008" y="4474614"/>
            <a:ext cx="2" cy="330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流程图: 决策 130"/>
          <p:cNvSpPr/>
          <p:nvPr/>
        </p:nvSpPr>
        <p:spPr>
          <a:xfrm>
            <a:off x="3028727" y="4186614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出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2" name="文本框 131"/>
          <p:cNvSpPr txBox="1"/>
          <p:nvPr/>
        </p:nvSpPr>
        <p:spPr>
          <a:xfrm flipH="1">
            <a:off x="4540587" y="3614068"/>
            <a:ext cx="79918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缺陷修复</a:t>
            </a:r>
            <a:endParaRPr lang="zh-CN" altLang="en-US" sz="8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3" name="文本框 132"/>
          <p:cNvSpPr txBox="1"/>
          <p:nvPr/>
        </p:nvSpPr>
        <p:spPr>
          <a:xfrm flipH="1">
            <a:off x="4524973" y="3083831"/>
            <a:ext cx="100220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自测未通过</a:t>
            </a:r>
            <a:endParaRPr lang="en-US" altLang="zh-CN" sz="800" dirty="0" smtClean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41" name="弧形 63">
            <a:extLst>
              <a:ext uri="{FF2B5EF4-FFF2-40B4-BE49-F238E27FC236}">
                <a16:creationId xmlns:a16="http://schemas.microsoft.com/office/drawing/2014/main" id="{266753F4-6A20-4731-B2EB-D8BBF49B96E2}"/>
              </a:ext>
            </a:extLst>
          </p:cNvPr>
          <p:cNvSpPr>
            <a:spLocks/>
          </p:cNvSpPr>
          <p:nvPr/>
        </p:nvSpPr>
        <p:spPr>
          <a:xfrm>
            <a:off x="7716306" y="1898357"/>
            <a:ext cx="3060000" cy="3059296"/>
          </a:xfrm>
          <a:prstGeom prst="arc">
            <a:avLst>
              <a:gd name="adj1" fmla="val 16279933"/>
              <a:gd name="adj2" fmla="val 15927654"/>
            </a:avLst>
          </a:prstGeom>
          <a:ln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sym typeface="等线" panose="02010600030101010101" pitchFamily="2" charset="-122"/>
            </a:endParaRPr>
          </a:p>
        </p:txBody>
      </p:sp>
      <p:sp>
        <p:nvSpPr>
          <p:cNvPr id="143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8539863" y="1470373"/>
            <a:ext cx="1440000" cy="894174"/>
          </a:xfrm>
          <a:prstGeom prst="roundRect">
            <a:avLst/>
          </a:prstGeom>
          <a:solidFill>
            <a:schemeClr val="accent2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2 CR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代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4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147178" y="2634814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1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把控提测质量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5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10056306" y="2651737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3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发</a:t>
            </a:r>
            <a:r>
              <a:rPr kumimoji="1" lang="zh-CN" altLang="en-US" sz="1200" dirty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版管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控</a:t>
            </a:r>
            <a:endParaRPr kumimoji="1" lang="zh-CN" altLang="en-US" sz="1200" dirty="0"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9500997" y="3950842"/>
            <a:ext cx="1440000" cy="8941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4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交付验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7" name="流程图: 文档 146"/>
          <p:cNvSpPr/>
          <p:nvPr/>
        </p:nvSpPr>
        <p:spPr>
          <a:xfrm>
            <a:off x="364585" y="3081901"/>
            <a:ext cx="1471427" cy="894174"/>
          </a:xfrm>
          <a:prstGeom prst="flowChartDocumen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针对流程规范问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48" name="右箭头 147"/>
          <p:cNvSpPr/>
          <p:nvPr/>
        </p:nvSpPr>
        <p:spPr>
          <a:xfrm>
            <a:off x="2217638" y="3272911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9" name="右箭头 148"/>
          <p:cNvSpPr/>
          <p:nvPr/>
        </p:nvSpPr>
        <p:spPr>
          <a:xfrm>
            <a:off x="6088797" y="3167642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6" name="流程图: 过程 155"/>
          <p:cNvSpPr/>
          <p:nvPr/>
        </p:nvSpPr>
        <p:spPr>
          <a:xfrm>
            <a:off x="3193421" y="147037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系分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57" name="直接箭头连接符 156"/>
          <p:cNvCxnSpPr>
            <a:stCxn id="156" idx="2"/>
            <a:endCxn id="90" idx="0"/>
          </p:cNvCxnSpPr>
          <p:nvPr/>
        </p:nvCxnSpPr>
        <p:spPr>
          <a:xfrm>
            <a:off x="3730009" y="1758373"/>
            <a:ext cx="0" cy="282431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流程图: 过程 166"/>
          <p:cNvSpPr/>
          <p:nvPr/>
        </p:nvSpPr>
        <p:spPr>
          <a:xfrm>
            <a:off x="3193419" y="582057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监控 </a:t>
            </a:r>
            <a:r>
              <a:rPr lang="en-US" altLang="zh-CN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/ 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巡检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8" name="流程图: 过程 167"/>
          <p:cNvSpPr/>
          <p:nvPr/>
        </p:nvSpPr>
        <p:spPr>
          <a:xfrm>
            <a:off x="3193419" y="531289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线上验证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95" name="直接箭头连接符 194"/>
          <p:cNvCxnSpPr>
            <a:stCxn id="129" idx="2"/>
            <a:endCxn id="168" idx="0"/>
          </p:cNvCxnSpPr>
          <p:nvPr/>
        </p:nvCxnSpPr>
        <p:spPr>
          <a:xfrm flipH="1">
            <a:off x="3730007" y="5093208"/>
            <a:ext cx="3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直接箭头连接符 196"/>
          <p:cNvCxnSpPr>
            <a:stCxn id="168" idx="2"/>
            <a:endCxn id="167" idx="0"/>
          </p:cNvCxnSpPr>
          <p:nvPr/>
        </p:nvCxnSpPr>
        <p:spPr>
          <a:xfrm>
            <a:off x="3730007" y="5600893"/>
            <a:ext cx="0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551615" y="3950842"/>
            <a:ext cx="1440000" cy="8941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5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应急反馈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207" name="标题 20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44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7" name="直接箭头连接符 156"/>
          <p:cNvCxnSpPr/>
          <p:nvPr/>
        </p:nvCxnSpPr>
        <p:spPr>
          <a:xfrm flipV="1">
            <a:off x="5109897" y="4437904"/>
            <a:ext cx="1153963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直接箭头连接符 147"/>
          <p:cNvCxnSpPr/>
          <p:nvPr/>
        </p:nvCxnSpPr>
        <p:spPr>
          <a:xfrm>
            <a:off x="5127583" y="3415019"/>
            <a:ext cx="1080215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接箭头连接符 146"/>
          <p:cNvCxnSpPr/>
          <p:nvPr/>
        </p:nvCxnSpPr>
        <p:spPr>
          <a:xfrm>
            <a:off x="5107935" y="2937934"/>
            <a:ext cx="1122117" cy="1105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42241" y="509092"/>
            <a:ext cx="8131475" cy="5971849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117" name="直接连接符 116"/>
          <p:cNvCxnSpPr>
            <a:stCxn id="45" idx="2"/>
          </p:cNvCxnSpPr>
          <p:nvPr/>
        </p:nvCxnSpPr>
        <p:spPr>
          <a:xfrm>
            <a:off x="6249550" y="995339"/>
            <a:ext cx="0" cy="544893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>
            <a:stCxn id="43" idx="2"/>
          </p:cNvCxnSpPr>
          <p:nvPr/>
        </p:nvCxnSpPr>
        <p:spPr>
          <a:xfrm flipH="1">
            <a:off x="5101294" y="995339"/>
            <a:ext cx="0" cy="544893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/>
          <p:cNvCxnSpPr/>
          <p:nvPr/>
        </p:nvCxnSpPr>
        <p:spPr>
          <a:xfrm flipH="1">
            <a:off x="1748285" y="979920"/>
            <a:ext cx="0" cy="544781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连接符 115"/>
          <p:cNvCxnSpPr/>
          <p:nvPr/>
        </p:nvCxnSpPr>
        <p:spPr>
          <a:xfrm>
            <a:off x="4057910" y="995339"/>
            <a:ext cx="0" cy="544493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>
            <a:stCxn id="42" idx="2"/>
          </p:cNvCxnSpPr>
          <p:nvPr/>
        </p:nvCxnSpPr>
        <p:spPr>
          <a:xfrm>
            <a:off x="2955466" y="995339"/>
            <a:ext cx="0" cy="544893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直接箭头连接符 2"/>
          <p:cNvCxnSpPr/>
          <p:nvPr/>
        </p:nvCxnSpPr>
        <p:spPr>
          <a:xfrm>
            <a:off x="607486" y="1553655"/>
            <a:ext cx="110874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554087" y="1121095"/>
            <a:ext cx="647934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始认证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02348" y="706043"/>
            <a:ext cx="6840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人脸</a:t>
            </a:r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SDK</a:t>
            </a:r>
            <a:endParaRPr lang="en-US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563066" y="705600"/>
            <a:ext cx="7848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客户服务端</a:t>
            </a:r>
            <a:endParaRPr lang="en-US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729650" y="705600"/>
            <a:ext cx="7848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9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OP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网关</a:t>
            </a:r>
            <a:endParaRPr lang="en-US" altLang="zh-CN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639481" y="705600"/>
            <a:ext cx="9000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开放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平台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网关</a:t>
            </a:r>
            <a:endParaRPr lang="en-US" altLang="zh-CN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857150" y="705600"/>
            <a:ext cx="7848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MGS</a:t>
            </a:r>
            <a:endParaRPr lang="en-US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013049" y="705153"/>
            <a:ext cx="7848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人脸服务端</a:t>
            </a:r>
            <a:endParaRPr lang="en-US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64" name="直接连接符 63"/>
          <p:cNvCxnSpPr/>
          <p:nvPr/>
        </p:nvCxnSpPr>
        <p:spPr>
          <a:xfrm>
            <a:off x="543005" y="995339"/>
            <a:ext cx="0" cy="544493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>
            <a:stCxn id="53" idx="0"/>
          </p:cNvCxnSpPr>
          <p:nvPr/>
        </p:nvCxnSpPr>
        <p:spPr>
          <a:xfrm flipH="1">
            <a:off x="591342" y="1334753"/>
            <a:ext cx="1154587" cy="39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文本框 74"/>
          <p:cNvSpPr txBox="1"/>
          <p:nvPr/>
        </p:nvSpPr>
        <p:spPr>
          <a:xfrm>
            <a:off x="501271" y="1407340"/>
            <a:ext cx="8835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0" name="直接箭头连接符 79"/>
          <p:cNvCxnSpPr>
            <a:endCxn id="58" idx="1"/>
          </p:cNvCxnSpPr>
          <p:nvPr/>
        </p:nvCxnSpPr>
        <p:spPr>
          <a:xfrm flipV="1">
            <a:off x="1791201" y="1663695"/>
            <a:ext cx="113941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箭头连接符 82"/>
          <p:cNvCxnSpPr/>
          <p:nvPr/>
        </p:nvCxnSpPr>
        <p:spPr>
          <a:xfrm>
            <a:off x="2997200" y="1778000"/>
            <a:ext cx="102520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箭头连接符 85"/>
          <p:cNvCxnSpPr>
            <a:endCxn id="82" idx="0"/>
          </p:cNvCxnSpPr>
          <p:nvPr/>
        </p:nvCxnSpPr>
        <p:spPr>
          <a:xfrm>
            <a:off x="5110492" y="1932103"/>
            <a:ext cx="228706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>
            <a:stCxn id="82" idx="2"/>
          </p:cNvCxnSpPr>
          <p:nvPr/>
        </p:nvCxnSpPr>
        <p:spPr>
          <a:xfrm flipH="1" flipV="1">
            <a:off x="5122704" y="2150556"/>
            <a:ext cx="2274854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>
            <a:stCxn id="81" idx="2"/>
          </p:cNvCxnSpPr>
          <p:nvPr/>
        </p:nvCxnSpPr>
        <p:spPr>
          <a:xfrm flipH="1" flipV="1">
            <a:off x="2984173" y="2349744"/>
            <a:ext cx="107200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箭头连接符 88"/>
          <p:cNvCxnSpPr>
            <a:stCxn id="54" idx="2"/>
          </p:cNvCxnSpPr>
          <p:nvPr/>
        </p:nvCxnSpPr>
        <p:spPr>
          <a:xfrm flipH="1" flipV="1">
            <a:off x="1774025" y="2521139"/>
            <a:ext cx="1184202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箭头连接符 89"/>
          <p:cNvCxnSpPr>
            <a:stCxn id="126" idx="1"/>
          </p:cNvCxnSpPr>
          <p:nvPr/>
        </p:nvCxnSpPr>
        <p:spPr>
          <a:xfrm flipH="1" flipV="1">
            <a:off x="574380" y="2704890"/>
            <a:ext cx="1166717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361305" y="705600"/>
            <a:ext cx="784800" cy="28973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客户</a:t>
            </a:r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APP</a:t>
            </a:r>
            <a:endParaRPr lang="en-US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118" name="直接箭头连接符 117"/>
          <p:cNvCxnSpPr/>
          <p:nvPr/>
        </p:nvCxnSpPr>
        <p:spPr>
          <a:xfrm flipH="1">
            <a:off x="4065859" y="5173920"/>
            <a:ext cx="1000800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 flipH="1">
            <a:off x="7398958" y="997960"/>
            <a:ext cx="0" cy="546266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文本框 56"/>
          <p:cNvSpPr txBox="1"/>
          <p:nvPr/>
        </p:nvSpPr>
        <p:spPr>
          <a:xfrm>
            <a:off x="1752504" y="1487574"/>
            <a:ext cx="8835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2930615" y="1559820"/>
            <a:ext cx="8835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5097007" y="1770140"/>
            <a:ext cx="8835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5097607" y="1987816"/>
            <a:ext cx="72006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2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2963694" y="2139567"/>
            <a:ext cx="72006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2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1745569" y="2307246"/>
            <a:ext cx="72006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2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535983" y="2481804"/>
            <a:ext cx="72006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2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7" name="直接箭头连接符 66"/>
          <p:cNvCxnSpPr/>
          <p:nvPr/>
        </p:nvCxnSpPr>
        <p:spPr>
          <a:xfrm flipV="1">
            <a:off x="591839" y="2857275"/>
            <a:ext cx="4456800" cy="1874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/>
          <p:nvPr/>
        </p:nvCxnSpPr>
        <p:spPr>
          <a:xfrm>
            <a:off x="6230450" y="3020516"/>
            <a:ext cx="1126686" cy="1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肘形连接符 90"/>
          <p:cNvCxnSpPr/>
          <p:nvPr/>
        </p:nvCxnSpPr>
        <p:spPr>
          <a:xfrm>
            <a:off x="7440081" y="3062588"/>
            <a:ext cx="12700" cy="182221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接箭头连接符 93"/>
          <p:cNvCxnSpPr/>
          <p:nvPr/>
        </p:nvCxnSpPr>
        <p:spPr>
          <a:xfrm>
            <a:off x="6268878" y="3326887"/>
            <a:ext cx="111852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箭头连接符 94"/>
          <p:cNvCxnSpPr/>
          <p:nvPr/>
        </p:nvCxnSpPr>
        <p:spPr>
          <a:xfrm>
            <a:off x="593954" y="3494251"/>
            <a:ext cx="444600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箭头连接符 99"/>
          <p:cNvCxnSpPr/>
          <p:nvPr/>
        </p:nvCxnSpPr>
        <p:spPr>
          <a:xfrm>
            <a:off x="593633" y="3919291"/>
            <a:ext cx="44568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箭头连接符 100"/>
          <p:cNvCxnSpPr/>
          <p:nvPr/>
        </p:nvCxnSpPr>
        <p:spPr>
          <a:xfrm>
            <a:off x="582965" y="4478678"/>
            <a:ext cx="445680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肘形连接符 103"/>
          <p:cNvCxnSpPr/>
          <p:nvPr/>
        </p:nvCxnSpPr>
        <p:spPr>
          <a:xfrm>
            <a:off x="7416837" y="4097663"/>
            <a:ext cx="12700" cy="182221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接箭头连接符 104"/>
          <p:cNvCxnSpPr/>
          <p:nvPr/>
        </p:nvCxnSpPr>
        <p:spPr>
          <a:xfrm>
            <a:off x="591330" y="4754310"/>
            <a:ext cx="112490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接箭头连接符 105"/>
          <p:cNvCxnSpPr/>
          <p:nvPr/>
        </p:nvCxnSpPr>
        <p:spPr>
          <a:xfrm>
            <a:off x="1727295" y="4867491"/>
            <a:ext cx="11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接箭头连接符 106"/>
          <p:cNvCxnSpPr/>
          <p:nvPr/>
        </p:nvCxnSpPr>
        <p:spPr>
          <a:xfrm>
            <a:off x="2993445" y="5062540"/>
            <a:ext cx="1026728" cy="4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接箭头连接符 107"/>
          <p:cNvCxnSpPr/>
          <p:nvPr/>
        </p:nvCxnSpPr>
        <p:spPr>
          <a:xfrm>
            <a:off x="2984173" y="5671773"/>
            <a:ext cx="1076166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接箭头连接符 108"/>
          <p:cNvCxnSpPr/>
          <p:nvPr/>
        </p:nvCxnSpPr>
        <p:spPr>
          <a:xfrm>
            <a:off x="1782428" y="5870508"/>
            <a:ext cx="118448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肘形连接符 109"/>
          <p:cNvCxnSpPr/>
          <p:nvPr/>
        </p:nvCxnSpPr>
        <p:spPr>
          <a:xfrm>
            <a:off x="1788365" y="5965995"/>
            <a:ext cx="12700" cy="182221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/>
          <p:cNvCxnSpPr/>
          <p:nvPr/>
        </p:nvCxnSpPr>
        <p:spPr>
          <a:xfrm flipH="1" flipV="1">
            <a:off x="4090997" y="5534428"/>
            <a:ext cx="100080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/>
          <p:cNvCxnSpPr/>
          <p:nvPr/>
        </p:nvCxnSpPr>
        <p:spPr>
          <a:xfrm flipV="1">
            <a:off x="4056177" y="1870021"/>
            <a:ext cx="99828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箭头连接符 118"/>
          <p:cNvCxnSpPr/>
          <p:nvPr/>
        </p:nvCxnSpPr>
        <p:spPr>
          <a:xfrm flipH="1" flipV="1">
            <a:off x="4089481" y="2232271"/>
            <a:ext cx="100230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文本框 123"/>
          <p:cNvSpPr txBox="1"/>
          <p:nvPr/>
        </p:nvSpPr>
        <p:spPr>
          <a:xfrm>
            <a:off x="4059668" y="1695106"/>
            <a:ext cx="883575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文本框 124"/>
          <p:cNvSpPr txBox="1"/>
          <p:nvPr/>
        </p:nvSpPr>
        <p:spPr>
          <a:xfrm>
            <a:off x="4051973" y="2055979"/>
            <a:ext cx="72006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2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文本框 125"/>
          <p:cNvSpPr txBox="1"/>
          <p:nvPr/>
        </p:nvSpPr>
        <p:spPr>
          <a:xfrm>
            <a:off x="1741097" y="2697280"/>
            <a:ext cx="2225289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脸服务客户端初始化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7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7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etalnfo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6192957" y="2823351"/>
            <a:ext cx="126348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人脸认证流水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文本框 127"/>
          <p:cNvSpPr txBox="1"/>
          <p:nvPr/>
        </p:nvSpPr>
        <p:spPr>
          <a:xfrm>
            <a:off x="6950474" y="3393871"/>
            <a:ext cx="126348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.2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判断是否开启侧信道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6198774" y="3123428"/>
            <a:ext cx="87876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文本框 129"/>
          <p:cNvSpPr txBox="1"/>
          <p:nvPr/>
        </p:nvSpPr>
        <p:spPr>
          <a:xfrm>
            <a:off x="1759241" y="3311145"/>
            <a:ext cx="2449710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4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客户端初始化结果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包含衡信道配置的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lientConfg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文本框 130"/>
          <p:cNvSpPr txBox="1"/>
          <p:nvPr/>
        </p:nvSpPr>
        <p:spPr>
          <a:xfrm>
            <a:off x="751396" y="3749611"/>
            <a:ext cx="331853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: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验客户端核验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7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ertifyid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活体图片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侧信道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图片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侧信道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ta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数</a:t>
            </a:r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2" name="直接箭头连接符 131"/>
          <p:cNvCxnSpPr/>
          <p:nvPr/>
        </p:nvCxnSpPr>
        <p:spPr>
          <a:xfrm flipH="1">
            <a:off x="6278918" y="4109746"/>
            <a:ext cx="1066085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文本框 132"/>
          <p:cNvSpPr txBox="1"/>
          <p:nvPr/>
        </p:nvSpPr>
        <p:spPr>
          <a:xfrm>
            <a:off x="6249550" y="3925122"/>
            <a:ext cx="59022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6902383" y="4418699"/>
            <a:ext cx="1359668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.2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活体检测、侧信道检测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5" name="文本框 134"/>
          <p:cNvSpPr txBox="1"/>
          <p:nvPr/>
        </p:nvSpPr>
        <p:spPr>
          <a:xfrm>
            <a:off x="6230462" y="4187798"/>
            <a:ext cx="78258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6" name="直接箭头连接符 135"/>
          <p:cNvCxnSpPr/>
          <p:nvPr/>
        </p:nvCxnSpPr>
        <p:spPr>
          <a:xfrm flipV="1">
            <a:off x="6278918" y="4356741"/>
            <a:ext cx="1153963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文本框 136"/>
          <p:cNvSpPr txBox="1"/>
          <p:nvPr/>
        </p:nvSpPr>
        <p:spPr>
          <a:xfrm>
            <a:off x="751396" y="4308718"/>
            <a:ext cx="1015021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6:</a:t>
            </a:r>
            <a:r>
              <a:rPr lang="zh-CN" altLang="en-US" sz="7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端核验结果</a:t>
            </a:r>
          </a:p>
        </p:txBody>
      </p:sp>
      <p:sp>
        <p:nvSpPr>
          <p:cNvPr id="138" name="文本框 137"/>
          <p:cNvSpPr txBox="1"/>
          <p:nvPr/>
        </p:nvSpPr>
        <p:spPr>
          <a:xfrm>
            <a:off x="489588" y="4563305"/>
            <a:ext cx="1292341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 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知客户</a:t>
            </a:r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成认证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1726005" y="4659263"/>
            <a:ext cx="1292341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1 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知服务端认证完成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文本框 139"/>
          <p:cNvSpPr txBox="1"/>
          <p:nvPr/>
        </p:nvSpPr>
        <p:spPr>
          <a:xfrm>
            <a:off x="2925457" y="4858956"/>
            <a:ext cx="1196161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2 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脸核身结果查询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1" name="文本框 140"/>
          <p:cNvSpPr txBox="1"/>
          <p:nvPr/>
        </p:nvSpPr>
        <p:spPr>
          <a:xfrm>
            <a:off x="5099062" y="5084871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查询认证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2" name="文本框 141"/>
          <p:cNvSpPr txBox="1"/>
          <p:nvPr/>
        </p:nvSpPr>
        <p:spPr>
          <a:xfrm>
            <a:off x="5089746" y="5280601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4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数据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2958147" y="5482686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4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数据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4" name="文本框 143"/>
          <p:cNvSpPr txBox="1"/>
          <p:nvPr/>
        </p:nvSpPr>
        <p:spPr>
          <a:xfrm>
            <a:off x="1727139" y="5662253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4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数据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5" name="文本框 144"/>
          <p:cNvSpPr txBox="1"/>
          <p:nvPr/>
        </p:nvSpPr>
        <p:spPr>
          <a:xfrm>
            <a:off x="1966215" y="5946794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5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续业务逻辑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08520" y="1323433"/>
            <a:ext cx="71380" cy="360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709929" y="1334753"/>
            <a:ext cx="72000" cy="144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719502" y="4722238"/>
            <a:ext cx="72000" cy="144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22227" y="1486137"/>
            <a:ext cx="72000" cy="108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12246" y="4855090"/>
            <a:ext cx="72000" cy="108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020173" y="1685944"/>
            <a:ext cx="72000" cy="72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024339" y="4857732"/>
            <a:ext cx="72000" cy="864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1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055781" y="1870021"/>
            <a:ext cx="72000" cy="432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200980" y="2828086"/>
            <a:ext cx="72000" cy="72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207798" y="3828774"/>
            <a:ext cx="72000" cy="72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361558" y="1932103"/>
            <a:ext cx="72000" cy="288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0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361760" y="4005904"/>
            <a:ext cx="72000" cy="432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1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360339" y="5162102"/>
            <a:ext cx="72000" cy="432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361558" y="2959556"/>
            <a:ext cx="72000" cy="432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178" name="直接连接符 177"/>
          <p:cNvCxnSpPr/>
          <p:nvPr/>
        </p:nvCxnSpPr>
        <p:spPr>
          <a:xfrm flipV="1">
            <a:off x="142240" y="994892"/>
            <a:ext cx="8131476" cy="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055583" y="2833561"/>
            <a:ext cx="72000" cy="72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2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048793" y="3835881"/>
            <a:ext cx="72000" cy="720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055856" y="5128583"/>
            <a:ext cx="72000" cy="4320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7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9" name="文本框 148"/>
          <p:cNvSpPr txBox="1"/>
          <p:nvPr/>
        </p:nvSpPr>
        <p:spPr>
          <a:xfrm>
            <a:off x="5036878" y="2770755"/>
            <a:ext cx="126348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人脸认证流水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0" name="文本框 149"/>
          <p:cNvSpPr txBox="1"/>
          <p:nvPr/>
        </p:nvSpPr>
        <p:spPr>
          <a:xfrm>
            <a:off x="5036441" y="3222315"/>
            <a:ext cx="87876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3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1" name="直接箭头连接符 150"/>
          <p:cNvCxnSpPr/>
          <p:nvPr/>
        </p:nvCxnSpPr>
        <p:spPr>
          <a:xfrm flipH="1">
            <a:off x="5141355" y="5246772"/>
            <a:ext cx="2254984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直接箭头连接符 151"/>
          <p:cNvCxnSpPr/>
          <p:nvPr/>
        </p:nvCxnSpPr>
        <p:spPr>
          <a:xfrm flipH="1">
            <a:off x="5111535" y="5462772"/>
            <a:ext cx="2248804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文本框 152"/>
          <p:cNvSpPr txBox="1"/>
          <p:nvPr/>
        </p:nvSpPr>
        <p:spPr>
          <a:xfrm>
            <a:off x="4025505" y="4971744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查询认证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4" name="文本框 153"/>
          <p:cNvSpPr txBox="1"/>
          <p:nvPr/>
        </p:nvSpPr>
        <p:spPr>
          <a:xfrm>
            <a:off x="4030488" y="5347504"/>
            <a:ext cx="97494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7.4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数据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5" name="直接箭头连接符 154"/>
          <p:cNvCxnSpPr/>
          <p:nvPr/>
        </p:nvCxnSpPr>
        <p:spPr>
          <a:xfrm flipH="1">
            <a:off x="5140253" y="4028996"/>
            <a:ext cx="1066085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文本框 155"/>
          <p:cNvSpPr txBox="1"/>
          <p:nvPr/>
        </p:nvSpPr>
        <p:spPr>
          <a:xfrm>
            <a:off x="5058206" y="3853485"/>
            <a:ext cx="590226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.1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8" name="文本框 157"/>
          <p:cNvSpPr txBox="1"/>
          <p:nvPr/>
        </p:nvSpPr>
        <p:spPr>
          <a:xfrm>
            <a:off x="5054457" y="4234977"/>
            <a:ext cx="782587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5.3</a:t>
            </a:r>
            <a:r>
              <a:rPr lang="zh-CN" altLang="en-US" sz="7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认证结果</a:t>
            </a:r>
            <a:endParaRPr lang="zh-CN" altLang="en-US" sz="7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28712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A1A10464-7016-4D36-A368-B120068E17FE}"/>
              </a:ext>
            </a:extLst>
          </p:cNvPr>
          <p:cNvSpPr txBox="1"/>
          <p:nvPr/>
        </p:nvSpPr>
        <p:spPr>
          <a:xfrm>
            <a:off x="5944431" y="1618191"/>
            <a:ext cx="5784149" cy="44781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285750" marR="0" lvl="0" indent="-28575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背景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，研发和测试人员无法对接口返回体做到解耦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痛点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需要关注接口返回体格式；如果返回体格式有改动，则研发代码（返回体对象、判断逻辑）需要二次开发和适配，无法做到配置化修改（重复</a:t>
            </a:r>
            <a:r>
              <a:rPr lang="en-US" altLang="zh-CN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2/5/6</a:t>
            </a:r>
            <a:r>
              <a:rPr lang="zh-CN" altLang="en-US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动作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）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marR="0" lvl="0" indent="-285750" defTabSz="914362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决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方案</a:t>
            </a:r>
            <a:endParaRPr lang="en-US" altLang="zh-CN" sz="16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开发数据处理工具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耦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返回体的强相关性，以配置形式实现接口返回体的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对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成果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测试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返回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体处理与研发解耦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测试接口对接或调整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，测试效率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从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近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小时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到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分钟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endParaRPr kumimoji="0" lang="en-US" altLang="zh-CN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</p:txBody>
      </p:sp>
      <p:grpSp>
        <p:nvGrpSpPr>
          <p:cNvPr id="193" name="组合 192"/>
          <p:cNvGrpSpPr/>
          <p:nvPr/>
        </p:nvGrpSpPr>
        <p:grpSpPr>
          <a:xfrm>
            <a:off x="481084" y="1376855"/>
            <a:ext cx="5142551" cy="5046681"/>
            <a:chOff x="481084" y="1243505"/>
            <a:chExt cx="5142551" cy="504668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399F4539-BE1E-440D-9ED9-83EFE6462EC5}"/>
                </a:ext>
              </a:extLst>
            </p:cNvPr>
            <p:cNvSpPr/>
            <p:nvPr/>
          </p:nvSpPr>
          <p:spPr>
            <a:xfrm>
              <a:off x="2231973" y="5635795"/>
              <a:ext cx="656326" cy="654391"/>
            </a:xfrm>
            <a:prstGeom prst="ellipse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判断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1443105"/>
              <a:ext cx="711324" cy="7123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处理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BC7B2F69-B329-4226-93BB-9EBE1F31DD73}"/>
                </a:ext>
              </a:extLst>
            </p:cNvPr>
            <p:cNvSpPr/>
            <p:nvPr/>
          </p:nvSpPr>
          <p:spPr>
            <a:xfrm>
              <a:off x="552895" y="3361171"/>
              <a:ext cx="656733" cy="1108192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定义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DF43D3D9-94B0-497E-8749-AD7D6522F8EA}"/>
                </a:ext>
              </a:extLst>
            </p:cNvPr>
            <p:cNvSpPr/>
            <p:nvPr/>
          </p:nvSpPr>
          <p:spPr>
            <a:xfrm>
              <a:off x="2218673" y="3361171"/>
              <a:ext cx="669626" cy="1094569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发布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接口</a:t>
              </a:r>
              <a:endParaRPr kumimoji="1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9865C678-6BAF-44D4-83B2-552647876E30}"/>
                </a:ext>
              </a:extLst>
            </p:cNvPr>
            <p:cNvSpPr/>
            <p:nvPr/>
          </p:nvSpPr>
          <p:spPr>
            <a:xfrm>
              <a:off x="4952575" y="3352772"/>
              <a:ext cx="671060" cy="1114283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对照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13" name="直接箭头连接符 12">
              <a:extLst>
                <a:ext uri="{FF2B5EF4-FFF2-40B4-BE49-F238E27FC236}">
                  <a16:creationId xmlns:a16="http://schemas.microsoft.com/office/drawing/2014/main" id="{350BFB7B-4F54-4085-B54F-66BFDA2C0CCA}"/>
                </a:ext>
              </a:extLst>
            </p:cNvPr>
            <p:cNvCxnSpPr>
              <a:cxnSpLocks/>
              <a:endCxn id="7" idx="2"/>
            </p:cNvCxnSpPr>
            <p:nvPr/>
          </p:nvCxnSpPr>
          <p:spPr>
            <a:xfrm flipV="1">
              <a:off x="881261" y="4469363"/>
              <a:ext cx="1" cy="921796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" name="直接箭头连接符 1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10" idx="3"/>
              <a:endCxn id="65" idx="1"/>
            </p:cNvCxnSpPr>
            <p:nvPr/>
          </p:nvCxnSpPr>
          <p:spPr>
            <a:xfrm>
              <a:off x="2888299" y="3908456"/>
              <a:ext cx="748228" cy="5657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37F23F57-81C7-4595-89E8-DF6E3BE37554}"/>
                </a:ext>
              </a:extLst>
            </p:cNvPr>
            <p:cNvCxnSpPr>
              <a:cxnSpLocks/>
              <a:stCxn id="7" idx="3"/>
              <a:endCxn id="10" idx="1"/>
            </p:cNvCxnSpPr>
            <p:nvPr/>
          </p:nvCxnSpPr>
          <p:spPr>
            <a:xfrm flipV="1">
              <a:off x="1209628" y="3908456"/>
              <a:ext cx="1009045" cy="6811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1C8C78E3-5591-41B2-8472-7AD08054A0D9}"/>
                </a:ext>
              </a:extLst>
            </p:cNvPr>
            <p:cNvSpPr txBox="1"/>
            <p:nvPr/>
          </p:nvSpPr>
          <p:spPr>
            <a:xfrm>
              <a:off x="1209426" y="4831245"/>
              <a:ext cx="848356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新建</a:t>
              </a:r>
              <a:r>
                <a:rPr kumimoji="0" lang="en-US" altLang="zh-CN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or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修改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398C077D-91C8-4A3D-A3DF-788CB5D3BD1B}"/>
                </a:ext>
              </a:extLst>
            </p:cNvPr>
            <p:cNvSpPr txBox="1"/>
            <p:nvPr/>
          </p:nvSpPr>
          <p:spPr>
            <a:xfrm>
              <a:off x="3654488" y="569007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测试结果判断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30" name="直接箭头连接符 29">
              <a:extLst>
                <a:ext uri="{FF2B5EF4-FFF2-40B4-BE49-F238E27FC236}">
                  <a16:creationId xmlns:a16="http://schemas.microsoft.com/office/drawing/2014/main" id="{70DF9937-AF33-4D30-B06B-A6AA04EABD77}"/>
                </a:ext>
              </a:extLst>
            </p:cNvPr>
            <p:cNvCxnSpPr>
              <a:cxnSpLocks/>
              <a:stCxn id="10" idx="2"/>
              <a:endCxn id="4" idx="0"/>
            </p:cNvCxnSpPr>
            <p:nvPr/>
          </p:nvCxnSpPr>
          <p:spPr>
            <a:xfrm>
              <a:off x="2553486" y="4455740"/>
              <a:ext cx="6650" cy="1180055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79D8B11-F2CB-4F3A-96DC-A31FE1A0AF21}"/>
                </a:ext>
              </a:extLst>
            </p:cNvPr>
            <p:cNvSpPr txBox="1"/>
            <p:nvPr/>
          </p:nvSpPr>
          <p:spPr>
            <a:xfrm>
              <a:off x="2970254" y="521446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标记测试结果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48" name="连接符: 肘形 47">
              <a:extLst>
                <a:ext uri="{FF2B5EF4-FFF2-40B4-BE49-F238E27FC236}">
                  <a16:creationId xmlns:a16="http://schemas.microsoft.com/office/drawing/2014/main" id="{492C9160-F6CD-4CC7-A6A6-CD067B304DAA}"/>
                </a:ext>
              </a:extLst>
            </p:cNvPr>
            <p:cNvCxnSpPr>
              <a:cxnSpLocks/>
              <a:stCxn id="11" idx="2"/>
              <a:endCxn id="4" idx="6"/>
            </p:cNvCxnSpPr>
            <p:nvPr/>
          </p:nvCxnSpPr>
          <p:spPr>
            <a:xfrm rot="5400000">
              <a:off x="3340234" y="4015120"/>
              <a:ext cx="1495936" cy="2399806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7" name="椭圆 76">
              <a:extLst>
                <a:ext uri="{FF2B5EF4-FFF2-40B4-BE49-F238E27FC236}">
                  <a16:creationId xmlns:a16="http://schemas.microsoft.com/office/drawing/2014/main" id="{8BD7BBE3-4799-42FA-A3DC-8AB4378A4146}"/>
                </a:ext>
              </a:extLst>
            </p:cNvPr>
            <p:cNvSpPr/>
            <p:nvPr/>
          </p:nvSpPr>
          <p:spPr>
            <a:xfrm>
              <a:off x="2673118" y="246467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" name="椭圆 77">
              <a:extLst>
                <a:ext uri="{FF2B5EF4-FFF2-40B4-BE49-F238E27FC236}">
                  <a16:creationId xmlns:a16="http://schemas.microsoft.com/office/drawing/2014/main" id="{BBA2C86B-21B5-4F87-A2DC-1A8DA0C4BCFC}"/>
                </a:ext>
              </a:extLst>
            </p:cNvPr>
            <p:cNvSpPr/>
            <p:nvPr/>
          </p:nvSpPr>
          <p:spPr>
            <a:xfrm>
              <a:off x="952265" y="4788057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椭圆 78">
              <a:extLst>
                <a:ext uri="{FF2B5EF4-FFF2-40B4-BE49-F238E27FC236}">
                  <a16:creationId xmlns:a16="http://schemas.microsoft.com/office/drawing/2014/main" id="{C7197114-D67D-43E0-8957-0965540AFB30}"/>
                </a:ext>
              </a:extLst>
            </p:cNvPr>
            <p:cNvSpPr/>
            <p:nvPr/>
          </p:nvSpPr>
          <p:spPr>
            <a:xfrm>
              <a:off x="3403440" y="5645164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4C1F39E4-4D38-42F7-8AD1-7870C91B69E4}"/>
                </a:ext>
              </a:extLst>
            </p:cNvPr>
            <p:cNvSpPr/>
            <p:nvPr/>
          </p:nvSpPr>
          <p:spPr>
            <a:xfrm>
              <a:off x="2699174" y="5185283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1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椭圆 83">
              <a:extLst>
                <a:ext uri="{FF2B5EF4-FFF2-40B4-BE49-F238E27FC236}">
                  <a16:creationId xmlns:a16="http://schemas.microsoft.com/office/drawing/2014/main" id="{DEE6E630-0C09-41C8-870E-4D463B0168F2}"/>
                </a:ext>
              </a:extLst>
            </p:cNvPr>
            <p:cNvSpPr/>
            <p:nvPr/>
          </p:nvSpPr>
          <p:spPr>
            <a:xfrm>
              <a:off x="1229849" y="3617372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AAC385D3-E5C1-42DC-9EEF-95845BFAA37A}"/>
                </a:ext>
              </a:extLst>
            </p:cNvPr>
            <p:cNvSpPr txBox="1"/>
            <p:nvPr/>
          </p:nvSpPr>
          <p:spPr>
            <a:xfrm>
              <a:off x="1479218" y="3655853"/>
              <a:ext cx="745605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上线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86" name="椭圆 85">
              <a:extLst>
                <a:ext uri="{FF2B5EF4-FFF2-40B4-BE49-F238E27FC236}">
                  <a16:creationId xmlns:a16="http://schemas.microsoft.com/office/drawing/2014/main" id="{3E49D264-BE3F-456B-90A5-580B66EEB967}"/>
                </a:ext>
              </a:extLst>
            </p:cNvPr>
            <p:cNvSpPr/>
            <p:nvPr/>
          </p:nvSpPr>
          <p:spPr>
            <a:xfrm>
              <a:off x="4406693" y="1488225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5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D2794F27-0E90-4FC5-97F3-76D25CDFCDF1}"/>
                </a:ext>
              </a:extLst>
            </p:cNvPr>
            <p:cNvSpPr txBox="1"/>
            <p:nvPr/>
          </p:nvSpPr>
          <p:spPr>
            <a:xfrm>
              <a:off x="4680190" y="1533198"/>
              <a:ext cx="760519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结构体处理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F052EB00-373B-ED48-AF04-073C5DB9E53A}"/>
                </a:ext>
              </a:extLst>
            </p:cNvPr>
            <p:cNvSpPr/>
            <p:nvPr/>
          </p:nvSpPr>
          <p:spPr>
            <a:xfrm>
              <a:off x="912670" y="186484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DF6E9A8E-6297-2A40-832A-9DBFB831492D}"/>
                </a:ext>
              </a:extLst>
            </p:cNvPr>
            <p:cNvSpPr txBox="1"/>
            <p:nvPr/>
          </p:nvSpPr>
          <p:spPr>
            <a:xfrm>
              <a:off x="1179968" y="1898440"/>
              <a:ext cx="1124232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读取、复制结构体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0B79E16-1FCB-8A44-A462-DA56660209F8}"/>
                </a:ext>
              </a:extLst>
            </p:cNvPr>
            <p:cNvSpPr txBox="1"/>
            <p:nvPr/>
          </p:nvSpPr>
          <p:spPr>
            <a:xfrm>
              <a:off x="2924595" y="2503673"/>
              <a:ext cx="779301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调用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2166422" y="1243505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测试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25B1F70B-BFC5-8B4B-986C-A63C00447EB2}"/>
                </a:ext>
              </a:extLst>
            </p:cNvPr>
            <p:cNvCxnSpPr>
              <a:cxnSpLocks/>
              <a:stCxn id="7" idx="0"/>
            </p:cNvCxnSpPr>
            <p:nvPr/>
          </p:nvCxnSpPr>
          <p:spPr>
            <a:xfrm rot="5400000" flipH="1" flipV="1">
              <a:off x="776216" y="1920233"/>
              <a:ext cx="1545985" cy="1335892"/>
            </a:xfrm>
            <a:prstGeom prst="bentConnector3">
              <a:avLst>
                <a:gd name="adj1" fmla="val 100094"/>
              </a:avLst>
            </a:prstGeom>
            <a:ln w="2857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线箭头连接符 16">
              <a:extLst>
                <a:ext uri="{FF2B5EF4-FFF2-40B4-BE49-F238E27FC236}">
                  <a16:creationId xmlns:a16="http://schemas.microsoft.com/office/drawing/2014/main" id="{9BCF1928-2E79-C645-A680-009981D9928D}"/>
                </a:ext>
              </a:extLst>
            </p:cNvPr>
            <p:cNvCxnSpPr>
              <a:endCxn id="10" idx="0"/>
            </p:cNvCxnSpPr>
            <p:nvPr/>
          </p:nvCxnSpPr>
          <p:spPr>
            <a:xfrm>
              <a:off x="2552452" y="2232554"/>
              <a:ext cx="1034" cy="112861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肘形连接符 18">
              <a:extLst>
                <a:ext uri="{FF2B5EF4-FFF2-40B4-BE49-F238E27FC236}">
                  <a16:creationId xmlns:a16="http://schemas.microsoft.com/office/drawing/2014/main" id="{1BD10C26-0D8B-B04E-954F-F4DE40E7DD23}"/>
                </a:ext>
              </a:extLst>
            </p:cNvPr>
            <p:cNvCxnSpPr>
              <a:cxnSpLocks/>
              <a:stCxn id="6" idx="3"/>
              <a:endCxn id="11" idx="0"/>
            </p:cNvCxnSpPr>
            <p:nvPr/>
          </p:nvCxnSpPr>
          <p:spPr>
            <a:xfrm>
              <a:off x="4347851" y="1799297"/>
              <a:ext cx="940254" cy="1553475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9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910" y="1525944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0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52" y="5392891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481084" y="5875596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开发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52" name="直接箭头连接符 51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2730815" y="1794647"/>
              <a:ext cx="905712" cy="4650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3361171"/>
              <a:ext cx="711324" cy="11058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获取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68" name="直接箭头连接符 67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0"/>
              <a:endCxn id="6" idx="2"/>
            </p:cNvCxnSpPr>
            <p:nvPr/>
          </p:nvCxnSpPr>
          <p:spPr>
            <a:xfrm flipV="1">
              <a:off x="3992189" y="2155489"/>
              <a:ext cx="0" cy="1205682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54" name="直接箭头连接符 15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3"/>
              <a:endCxn id="11" idx="1"/>
            </p:cNvCxnSpPr>
            <p:nvPr/>
          </p:nvCxnSpPr>
          <p:spPr>
            <a:xfrm flipV="1">
              <a:off x="4347851" y="3909914"/>
              <a:ext cx="604724" cy="4199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087648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解耦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解析研判工具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19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0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137523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18358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题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177951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向量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4390615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4187913" y="3598408"/>
            <a:ext cx="1177200" cy="422869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4773" y="3556876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95369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23002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58" name="肘形连接符 57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40" idx="2"/>
          </p:cNvCxnSpPr>
          <p:nvPr/>
        </p:nvCxnSpPr>
        <p:spPr>
          <a:xfrm rot="10800000">
            <a:off x="2359274" y="1839634"/>
            <a:ext cx="970492" cy="228436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3" idx="2"/>
            <a:endCxn id="56" idx="0"/>
          </p:cNvCxnSpPr>
          <p:nvPr/>
        </p:nvCxnSpPr>
        <p:spPr>
          <a:xfrm>
            <a:off x="3918366" y="2300270"/>
            <a:ext cx="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57" idx="0"/>
          </p:cNvCxnSpPr>
          <p:nvPr/>
        </p:nvCxnSpPr>
        <p:spPr>
          <a:xfrm rot="10800000" flipV="1">
            <a:off x="2359274" y="2068070"/>
            <a:ext cx="970492" cy="232200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3" idx="0"/>
          </p:cNvCxnSpPr>
          <p:nvPr/>
        </p:nvCxnSpPr>
        <p:spPr>
          <a:xfrm>
            <a:off x="3918366" y="3229070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4" idx="0"/>
          </p:cNvCxnSpPr>
          <p:nvPr/>
        </p:nvCxnSpPr>
        <p:spPr>
          <a:xfrm flipH="1">
            <a:off x="3063373" y="3229070"/>
            <a:ext cx="854993" cy="32780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2"/>
            <a:endCxn id="47" idx="0"/>
          </p:cNvCxnSpPr>
          <p:nvPr/>
        </p:nvCxnSpPr>
        <p:spPr>
          <a:xfrm flipH="1">
            <a:off x="3918366" y="4021277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2"/>
            <a:endCxn id="47" idx="0"/>
          </p:cNvCxnSpPr>
          <p:nvPr/>
        </p:nvCxnSpPr>
        <p:spPr>
          <a:xfrm>
            <a:off x="3063373" y="4021276"/>
            <a:ext cx="854993" cy="36933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2"/>
            <a:endCxn id="45" idx="0"/>
          </p:cNvCxnSpPr>
          <p:nvPr/>
        </p:nvCxnSpPr>
        <p:spPr>
          <a:xfrm>
            <a:off x="3918366" y="4855015"/>
            <a:ext cx="0" cy="32293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2"/>
            <a:endCxn id="55" idx="0"/>
          </p:cNvCxnSpPr>
          <p:nvPr/>
        </p:nvCxnSpPr>
        <p:spPr>
          <a:xfrm>
            <a:off x="3918366" y="5642351"/>
            <a:ext cx="0" cy="311343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206781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8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83" idx="1"/>
            <a:endCxn id="56" idx="3"/>
          </p:cNvCxnSpPr>
          <p:nvPr/>
        </p:nvCxnSpPr>
        <p:spPr>
          <a:xfrm flipH="1">
            <a:off x="4506966" y="2996870"/>
            <a:ext cx="699815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64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9268086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向量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7784130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53525" y="1631596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45320" y="25582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0752042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4" idx="1"/>
          </p:cNvCxnSpPr>
          <p:nvPr/>
        </p:nvCxnSpPr>
        <p:spPr>
          <a:xfrm>
            <a:off x="4783398" y="2326060"/>
            <a:ext cx="1061922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3" idx="1"/>
          </p:cNvCxnSpPr>
          <p:nvPr/>
        </p:nvCxnSpPr>
        <p:spPr>
          <a:xfrm flipV="1">
            <a:off x="4783398" y="1863796"/>
            <a:ext cx="1070127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3"/>
            <a:endCxn id="47" idx="1"/>
          </p:cNvCxnSpPr>
          <p:nvPr/>
        </p:nvCxnSpPr>
        <p:spPr>
          <a:xfrm>
            <a:off x="6814725" y="1863796"/>
            <a:ext cx="969405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3"/>
            <a:endCxn id="47" idx="1"/>
          </p:cNvCxnSpPr>
          <p:nvPr/>
        </p:nvCxnSpPr>
        <p:spPr>
          <a:xfrm flipV="1">
            <a:off x="6806520" y="2326060"/>
            <a:ext cx="97761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3"/>
            <a:endCxn id="45" idx="1"/>
          </p:cNvCxnSpPr>
          <p:nvPr/>
        </p:nvCxnSpPr>
        <p:spPr>
          <a:xfrm>
            <a:off x="8745330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3"/>
            <a:endCxn id="55" idx="1"/>
          </p:cNvCxnSpPr>
          <p:nvPr/>
        </p:nvCxnSpPr>
        <p:spPr>
          <a:xfrm>
            <a:off x="10229286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1700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92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6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3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1"/>
            <a:endCxn id="92" idx="3"/>
          </p:cNvCxnSpPr>
          <p:nvPr/>
        </p:nvCxnSpPr>
        <p:spPr>
          <a:xfrm flipH="1">
            <a:off x="1208856" y="3560584"/>
            <a:ext cx="961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208856" y="209477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2" idx="0"/>
            <a:endCxn id="96" idx="2"/>
          </p:cNvCxnSpPr>
          <p:nvPr/>
        </p:nvCxnSpPr>
        <p:spPr>
          <a:xfrm flipV="1">
            <a:off x="7282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0"/>
            <a:endCxn id="96" idx="2"/>
          </p:cNvCxnSpPr>
          <p:nvPr/>
        </p:nvCxnSpPr>
        <p:spPr>
          <a:xfrm flipH="1" flipV="1">
            <a:off x="16894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31899" y="132219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10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22198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105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3" idx="2"/>
            <a:endCxn id="104" idx="0"/>
          </p:cNvCxnSpPr>
          <p:nvPr/>
        </p:nvCxnSpPr>
        <p:spPr>
          <a:xfrm flipH="1">
            <a:off x="4302798" y="1786594"/>
            <a:ext cx="9701" cy="30726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6" idx="3"/>
            <a:endCxn id="104" idx="1"/>
          </p:cNvCxnSpPr>
          <p:nvPr/>
        </p:nvCxnSpPr>
        <p:spPr>
          <a:xfrm flipV="1">
            <a:off x="2170056" y="2326060"/>
            <a:ext cx="1652142" cy="91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772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解决逻辑举例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435306" y="1953133"/>
            <a:ext cx="11409032" cy="2817783"/>
            <a:chOff x="572374" y="1381633"/>
            <a:chExt cx="11409032" cy="281778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2374" y="1381633"/>
              <a:ext cx="3748087" cy="2758169"/>
            </a:xfrm>
            <a:prstGeom prst="rect">
              <a:avLst/>
            </a:prstGeom>
          </p:spPr>
        </p:pic>
        <p:sp>
          <p:nvSpPr>
            <p:cNvPr id="6" name="右箭头 5"/>
            <p:cNvSpPr/>
            <p:nvPr/>
          </p:nvSpPr>
          <p:spPr>
            <a:xfrm>
              <a:off x="3294262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65260" y="1547668"/>
              <a:ext cx="2816146" cy="242609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10896898" y="2252885"/>
              <a:ext cx="461665" cy="1015663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zh-CN" altLang="en-US" dirty="0" smtClean="0"/>
                <a:t>配置目标</a:t>
              </a:r>
              <a:endParaRPr lang="zh-CN" altLang="en-US" dirty="0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08104" y="1406623"/>
              <a:ext cx="3912858" cy="2792793"/>
            </a:xfrm>
            <a:prstGeom prst="rect">
              <a:avLst/>
            </a:prstGeom>
          </p:spPr>
        </p:pic>
        <p:sp>
          <p:nvSpPr>
            <p:cNvPr id="13" name="右箭头 12"/>
            <p:cNvSpPr/>
            <p:nvPr/>
          </p:nvSpPr>
          <p:spPr>
            <a:xfrm rot="10800000">
              <a:off x="8408605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435306" y="5139748"/>
            <a:ext cx="1110899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/>
              <a:t>后期规划：</a:t>
            </a:r>
            <a:endParaRPr lang="en-US" altLang="zh-CN" sz="1400" b="1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）实现配置文件为  </a:t>
            </a:r>
            <a:r>
              <a:rPr lang="en-US" altLang="zh-CN" sz="1400" dirty="0" smtClean="0"/>
              <a:t>(</a:t>
            </a:r>
            <a:r>
              <a:rPr lang="en-US" altLang="zh-CN" sz="1400" dirty="0" err="1" smtClean="0"/>
              <a:t>suceess</a:t>
            </a:r>
            <a:r>
              <a:rPr lang="en-US" altLang="zh-CN" sz="1400" dirty="0" smtClean="0"/>
              <a:t> = true  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&gt; 1 )  or  (</a:t>
            </a:r>
            <a:r>
              <a:rPr lang="en-US" altLang="zh-CN" sz="1400" dirty="0" err="1"/>
              <a:t>suceess</a:t>
            </a:r>
            <a:r>
              <a:rPr lang="en-US" altLang="zh-CN" sz="1400" dirty="0"/>
              <a:t> = </a:t>
            </a:r>
            <a:r>
              <a:rPr lang="en-US" altLang="zh-CN" sz="1400" dirty="0" smtClean="0"/>
              <a:t>false  </a:t>
            </a:r>
            <a:r>
              <a:rPr lang="en-US" altLang="zh-CN" sz="1400" dirty="0"/>
              <a:t>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= 0 ) </a:t>
            </a:r>
            <a:r>
              <a:rPr lang="zh-CN" altLang="en-US" sz="1400" dirty="0" smtClean="0"/>
              <a:t>类似</a:t>
            </a:r>
            <a:r>
              <a:rPr lang="en-US" altLang="zh-CN" sz="1400" dirty="0" err="1" smtClean="0"/>
              <a:t>sql</a:t>
            </a:r>
            <a:r>
              <a:rPr lang="zh-CN" altLang="en-US" sz="1400" dirty="0" smtClean="0"/>
              <a:t>表达式的接口测试结果比对逻辑</a:t>
            </a:r>
            <a:endParaRPr lang="en-US" altLang="zh-CN" sz="1400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2</a:t>
            </a:r>
            <a:r>
              <a:rPr lang="zh-CN" altLang="en-US" sz="1400" dirty="0" smtClean="0"/>
              <a:t>）以</a:t>
            </a:r>
            <a:r>
              <a:rPr lang="en-US" altLang="zh-CN" sz="1400" dirty="0" err="1" smtClean="0"/>
              <a:t>vue</a:t>
            </a:r>
            <a:r>
              <a:rPr lang="zh-CN" altLang="en-US" sz="1400" dirty="0" smtClean="0"/>
              <a:t>技术栈实现页面配置，更大幅度降低接口测试能力难度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792558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535276" y="428984"/>
            <a:ext cx="11314979" cy="424732"/>
          </a:xfrm>
        </p:spPr>
        <p:txBody>
          <a:bodyPr/>
          <a:lstStyle/>
          <a:p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2400" dirty="0" smtClean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业务开展所需支持与配合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3703355" y="1436315"/>
            <a:ext cx="7343336" cy="814671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完成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C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到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视角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转换          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实现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从接受者到多角色协同者的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角色蜕变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3703353" y="3759575"/>
            <a:ext cx="7343337" cy="844705"/>
          </a:xfrm>
          <a:prstGeom prst="roundRect">
            <a:avLst/>
          </a:prstGeom>
          <a:ln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夯实产品质量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建设专项测试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3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提升人效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cxnSp>
        <p:nvCxnSpPr>
          <p:cNvPr id="38" name="直接连接符 37"/>
          <p:cNvCxnSpPr/>
          <p:nvPr/>
        </p:nvCxnSpPr>
        <p:spPr>
          <a:xfrm flipV="1">
            <a:off x="3703355" y="2250986"/>
            <a:ext cx="7343337" cy="14661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/>
          <p:cNvGrpSpPr/>
          <p:nvPr/>
        </p:nvGrpSpPr>
        <p:grpSpPr>
          <a:xfrm>
            <a:off x="728292" y="1527342"/>
            <a:ext cx="2642673" cy="757238"/>
            <a:chOff x="182565" y="3144836"/>
            <a:chExt cx="4438651" cy="1009650"/>
          </a:xfrm>
        </p:grpSpPr>
        <p:sp>
          <p:nvSpPr>
            <p:cNvPr id="43" name="MH_Other_1"/>
            <p:cNvSpPr/>
            <p:nvPr>
              <p:custDataLst>
                <p:tags r:id="rId9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4" name="MH_Text_1"/>
            <p:cNvSpPr/>
            <p:nvPr>
              <p:custDataLst>
                <p:tags r:id="rId10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维转型</a:t>
              </a:r>
              <a:endParaRPr kumimoji="0" lang="da-DK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5" name="MH_SubTitle_1"/>
            <p:cNvSpPr/>
            <p:nvPr>
              <p:custDataLst>
                <p:tags r:id="rId11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换位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考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6" name="MH_Other_2"/>
            <p:cNvSpPr/>
            <p:nvPr>
              <p:custDataLst>
                <p:tags r:id="rId12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A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28292" y="2732044"/>
            <a:ext cx="2642673" cy="757238"/>
            <a:chOff x="182565" y="3144836"/>
            <a:chExt cx="4438651" cy="1009650"/>
          </a:xfrm>
        </p:grpSpPr>
        <p:sp>
          <p:nvSpPr>
            <p:cNvPr id="48" name="MH_Other_1"/>
            <p:cNvSpPr/>
            <p:nvPr>
              <p:custDataLst>
                <p:tags r:id="rId5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9" name="MH_Text_1"/>
            <p:cNvSpPr/>
            <p:nvPr>
              <p:custDataLst>
                <p:tags r:id="rId6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团队协作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0" name="MH_SubTitle_1"/>
            <p:cNvSpPr/>
            <p:nvPr>
              <p:custDataLst>
                <p:tags r:id="rId7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能力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提升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1" name="MH_Other_2"/>
            <p:cNvSpPr/>
            <p:nvPr>
              <p:custDataLst>
                <p:tags r:id="rId8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B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cxnSp>
        <p:nvCxnSpPr>
          <p:cNvPr id="55" name="直接连接符 54"/>
          <p:cNvCxnSpPr/>
          <p:nvPr/>
        </p:nvCxnSpPr>
        <p:spPr>
          <a:xfrm flipV="1">
            <a:off x="3703354" y="3468854"/>
            <a:ext cx="7343337" cy="1466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V="1">
            <a:off x="3703354" y="4742245"/>
            <a:ext cx="7343337" cy="1466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圆角矩形 57"/>
          <p:cNvSpPr/>
          <p:nvPr/>
        </p:nvSpPr>
        <p:spPr>
          <a:xfrm>
            <a:off x="3703354" y="2701239"/>
            <a:ext cx="7376150" cy="818847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沟通协调能力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项目风险评估管理能力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728292" y="4005465"/>
            <a:ext cx="2642673" cy="757238"/>
            <a:chOff x="182564" y="5737225"/>
            <a:chExt cx="4438651" cy="1009650"/>
          </a:xfrm>
        </p:grpSpPr>
        <p:sp>
          <p:nvSpPr>
            <p:cNvPr id="60" name="MH_Other_5"/>
            <p:cNvSpPr/>
            <p:nvPr>
              <p:custDataLst>
                <p:tags r:id="rId1"/>
              </p:custDataLst>
            </p:nvPr>
          </p:nvSpPr>
          <p:spPr>
            <a:xfrm rot="16200000">
              <a:off x="-211136" y="6149975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MH_Text_3"/>
            <p:cNvSpPr/>
            <p:nvPr>
              <p:custDataLst>
                <p:tags r:id="rId2"/>
              </p:custDataLst>
            </p:nvPr>
          </p:nvSpPr>
          <p:spPr>
            <a:xfrm>
              <a:off x="277815" y="5737225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未来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规划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MH_SubTitle_3"/>
            <p:cNvSpPr/>
            <p:nvPr>
              <p:custDataLst>
                <p:tags r:id="rId3"/>
              </p:custDataLst>
            </p:nvPr>
          </p:nvSpPr>
          <p:spPr>
            <a:xfrm>
              <a:off x="182565" y="5861050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前景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展望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MH_Other_6"/>
            <p:cNvSpPr/>
            <p:nvPr>
              <p:custDataLst>
                <p:tags r:id="rId4"/>
              </p:custDataLst>
            </p:nvPr>
          </p:nvSpPr>
          <p:spPr>
            <a:xfrm>
              <a:off x="4173540" y="5737225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C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94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785257" y="544286"/>
            <a:ext cx="9448800" cy="61068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1355216"/>
            <a:ext cx="4298141" cy="31600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200506" y="1458622"/>
            <a:ext cx="2539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用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AAS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质量保障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4721603"/>
            <a:ext cx="4298141" cy="16966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450318" y="4833695"/>
            <a:ext cx="1778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稳定性和高可用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992086" y="881070"/>
            <a:ext cx="794492" cy="277023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建设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17371" y="881070"/>
            <a:ext cx="794492" cy="2770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42656" y="881070"/>
            <a:ext cx="794492" cy="277023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待建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6499780" y="731930"/>
            <a:ext cx="4490220" cy="1627852"/>
            <a:chOff x="6499780" y="718458"/>
            <a:chExt cx="4490220" cy="1627852"/>
          </a:xfrm>
        </p:grpSpPr>
        <p:sp>
          <p:nvSpPr>
            <p:cNvPr id="4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9780" y="718458"/>
              <a:ext cx="4490220" cy="162785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5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112191" y="826320"/>
              <a:ext cx="16253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健壮性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270878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部署部署</a:t>
              </a: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操作系统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15147" y="1287314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部署升级回滚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798596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国际化版本中英文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21340" y="1798596"/>
              <a:ext cx="2032999" cy="379874"/>
            </a:xfrm>
            <a:prstGeom prst="roundRect">
              <a:avLst/>
            </a:prstGeom>
            <a:solidFill>
              <a:schemeClr val="bg2"/>
            </a:solidFill>
            <a:ln w="3175"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浏览器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499780" y="2504382"/>
            <a:ext cx="4490220" cy="3913848"/>
            <a:chOff x="6497073" y="2606696"/>
            <a:chExt cx="4490220" cy="3913848"/>
          </a:xfrm>
        </p:grpSpPr>
        <p:sp>
          <p:nvSpPr>
            <p:cNvPr id="20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7073" y="2606696"/>
              <a:ext cx="4490220" cy="39138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3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2988921"/>
              <a:ext cx="3743710" cy="139907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7997891" y="2606696"/>
              <a:ext cx="18539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和专项工具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233846" y="3047781"/>
              <a:ext cx="13820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相关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4509875"/>
              <a:ext cx="3743710" cy="190396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7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344938" y="4577962"/>
              <a:ext cx="9705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专项工具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4933150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性能测试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5418369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造数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4941005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效果评测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5408221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验收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844180" y="5913144"/>
              <a:ext cx="179600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自动化接口测试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提效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3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70" y="3402969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en-US" altLang="zh-CN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AI</a:t>
              </a:r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应用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4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69" y="3903687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人脸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sp>
        <p:nvSpPr>
          <p:cNvPr id="4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注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1820804"/>
            <a:ext cx="2849281" cy="10945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2137858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318" y="1934113"/>
            <a:ext cx="1151736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灵犀智能体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1932487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数字人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2410290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智能外呼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2402538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星云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3039888"/>
            <a:ext cx="2849281" cy="6068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18482" y="3191657"/>
            <a:ext cx="95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脸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315560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认证中心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3143456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公有云人脸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0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3920059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低代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2" y="3782418"/>
            <a:ext cx="2849280" cy="6084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187" y="388961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小程序低代码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应急演练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891704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健康检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904708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转移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7205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606750" y="750278"/>
            <a:ext cx="5132673" cy="5595814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69165" y="1274288"/>
            <a:ext cx="1455234" cy="423986"/>
          </a:xfrm>
          <a:prstGeom prst="roundRect">
            <a:avLst/>
          </a:prstGeom>
          <a:solidFill>
            <a:srgbClr val="00B0F0"/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Server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2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980218" y="1275202"/>
            <a:ext cx="1455234" cy="4239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     Client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2" name="iconfont-10459-4813175">
            <a:extLst>
              <a:ext uri="{FF2B5EF4-FFF2-40B4-BE49-F238E27FC236}">
                <a16:creationId xmlns:a16="http://schemas.microsoft.com/office/drawing/2014/main" id="{902BFE5B-B8FF-4143-BEB9-B2F612CFACFA}"/>
              </a:ext>
            </a:extLst>
          </p:cNvPr>
          <p:cNvSpPr>
            <a:spLocks noChangeAspect="1"/>
          </p:cNvSpPr>
          <p:nvPr/>
        </p:nvSpPr>
        <p:spPr bwMode="auto">
          <a:xfrm>
            <a:off x="4114165" y="1356326"/>
            <a:ext cx="256870" cy="260187"/>
          </a:xfrm>
          <a:custGeom>
            <a:avLst/>
            <a:gdLst>
              <a:gd name="T0" fmla="*/ 6496 w 11296"/>
              <a:gd name="T1" fmla="*/ 6736 h 11440"/>
              <a:gd name="T2" fmla="*/ 6992 w 11296"/>
              <a:gd name="T3" fmla="*/ 10176 h 11440"/>
              <a:gd name="T4" fmla="*/ 10800 w 11296"/>
              <a:gd name="T5" fmla="*/ 10176 h 11440"/>
              <a:gd name="T6" fmla="*/ 11296 w 11296"/>
              <a:gd name="T7" fmla="*/ 6736 h 11440"/>
              <a:gd name="T8" fmla="*/ 10832 w 11296"/>
              <a:gd name="T9" fmla="*/ 8720 h 11440"/>
              <a:gd name="T10" fmla="*/ 8896 w 11296"/>
              <a:gd name="T11" fmla="*/ 10928 h 11440"/>
              <a:gd name="T12" fmla="*/ 6944 w 11296"/>
              <a:gd name="T13" fmla="*/ 8720 h 11440"/>
              <a:gd name="T14" fmla="*/ 8896 w 11296"/>
              <a:gd name="T15" fmla="*/ 6560 h 11440"/>
              <a:gd name="T16" fmla="*/ 10832 w 11296"/>
              <a:gd name="T17" fmla="*/ 8720 h 11440"/>
              <a:gd name="T18" fmla="*/ 9712 w 11296"/>
              <a:gd name="T19" fmla="*/ 8720 h 11440"/>
              <a:gd name="T20" fmla="*/ 8112 w 11296"/>
              <a:gd name="T21" fmla="*/ 8720 h 11440"/>
              <a:gd name="T22" fmla="*/ 9376 w 11296"/>
              <a:gd name="T23" fmla="*/ 8080 h 11440"/>
              <a:gd name="T24" fmla="*/ 8880 w 11296"/>
              <a:gd name="T25" fmla="*/ 7392 h 11440"/>
              <a:gd name="T26" fmla="*/ 8880 w 11296"/>
              <a:gd name="T27" fmla="*/ 10080 h 11440"/>
              <a:gd name="T28" fmla="*/ 10096 w 11296"/>
              <a:gd name="T29" fmla="*/ 8160 h 11440"/>
              <a:gd name="T30" fmla="*/ 10096 w 11296"/>
              <a:gd name="T31" fmla="*/ 7088 h 11440"/>
              <a:gd name="T32" fmla="*/ 10640 w 11296"/>
              <a:gd name="T33" fmla="*/ 7792 h 11440"/>
              <a:gd name="T34" fmla="*/ 10096 w 11296"/>
              <a:gd name="T35" fmla="*/ 7088 h 11440"/>
              <a:gd name="T36" fmla="*/ 8480 w 11296"/>
              <a:gd name="T37" fmla="*/ 5776 h 11440"/>
              <a:gd name="T38" fmla="*/ 7632 w 11296"/>
              <a:gd name="T39" fmla="*/ 0 h 11440"/>
              <a:gd name="T40" fmla="*/ 0 w 11296"/>
              <a:gd name="T41" fmla="*/ 848 h 11440"/>
              <a:gd name="T42" fmla="*/ 848 w 11296"/>
              <a:gd name="T43" fmla="*/ 11328 h 11440"/>
              <a:gd name="T44" fmla="*/ 6032 w 11296"/>
              <a:gd name="T45" fmla="*/ 6656 h 11440"/>
              <a:gd name="T46" fmla="*/ 2048 w 11296"/>
              <a:gd name="T47" fmla="*/ 1392 h 11440"/>
              <a:gd name="T48" fmla="*/ 7152 w 11296"/>
              <a:gd name="T49" fmla="*/ 2096 h 11440"/>
              <a:gd name="T50" fmla="*/ 2048 w 11296"/>
              <a:gd name="T51" fmla="*/ 2800 h 11440"/>
              <a:gd name="T52" fmla="*/ 2048 w 11296"/>
              <a:gd name="T53" fmla="*/ 1392 h 11440"/>
              <a:gd name="T54" fmla="*/ 2048 w 11296"/>
              <a:gd name="T55" fmla="*/ 3552 h 11440"/>
              <a:gd name="T56" fmla="*/ 7152 w 11296"/>
              <a:gd name="T57" fmla="*/ 4256 h 11440"/>
              <a:gd name="T58" fmla="*/ 2048 w 11296"/>
              <a:gd name="T59" fmla="*/ 4960 h 11440"/>
              <a:gd name="T60" fmla="*/ 4240 w 11296"/>
              <a:gd name="T61" fmla="*/ 8160 h 11440"/>
              <a:gd name="T62" fmla="*/ 4240 w 11296"/>
              <a:gd name="T63" fmla="*/ 6080 h 11440"/>
              <a:gd name="T64" fmla="*/ 4240 w 11296"/>
              <a:gd name="T65" fmla="*/ 8160 h 1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296" h="11440">
                <a:moveTo>
                  <a:pt x="8896" y="6048"/>
                </a:moveTo>
                <a:cubicBezTo>
                  <a:pt x="8640" y="6048"/>
                  <a:pt x="6496" y="6736"/>
                  <a:pt x="6496" y="6736"/>
                </a:cubicBezTo>
                <a:lnTo>
                  <a:pt x="6496" y="8720"/>
                </a:lnTo>
                <a:cubicBezTo>
                  <a:pt x="6496" y="8720"/>
                  <a:pt x="6528" y="9616"/>
                  <a:pt x="6992" y="10176"/>
                </a:cubicBezTo>
                <a:cubicBezTo>
                  <a:pt x="7856" y="11216"/>
                  <a:pt x="8896" y="11440"/>
                  <a:pt x="8896" y="11440"/>
                </a:cubicBezTo>
                <a:cubicBezTo>
                  <a:pt x="8896" y="11440"/>
                  <a:pt x="10128" y="11072"/>
                  <a:pt x="10800" y="10176"/>
                </a:cubicBezTo>
                <a:cubicBezTo>
                  <a:pt x="11232" y="9600"/>
                  <a:pt x="11296" y="8720"/>
                  <a:pt x="11296" y="8720"/>
                </a:cubicBezTo>
                <a:lnTo>
                  <a:pt x="11296" y="6736"/>
                </a:lnTo>
                <a:cubicBezTo>
                  <a:pt x="11280" y="6736"/>
                  <a:pt x="9152" y="6048"/>
                  <a:pt x="8896" y="6048"/>
                </a:cubicBezTo>
                <a:close/>
                <a:moveTo>
                  <a:pt x="10832" y="8720"/>
                </a:moveTo>
                <a:cubicBezTo>
                  <a:pt x="10832" y="8720"/>
                  <a:pt x="10784" y="9440"/>
                  <a:pt x="10432" y="9904"/>
                </a:cubicBezTo>
                <a:cubicBezTo>
                  <a:pt x="9888" y="10624"/>
                  <a:pt x="8896" y="10928"/>
                  <a:pt x="8896" y="10928"/>
                </a:cubicBezTo>
                <a:cubicBezTo>
                  <a:pt x="8896" y="10928"/>
                  <a:pt x="8048" y="10752"/>
                  <a:pt x="7344" y="9904"/>
                </a:cubicBezTo>
                <a:cubicBezTo>
                  <a:pt x="6976" y="9456"/>
                  <a:pt x="6944" y="8720"/>
                  <a:pt x="6944" y="8720"/>
                </a:cubicBezTo>
                <a:lnTo>
                  <a:pt x="6944" y="7120"/>
                </a:lnTo>
                <a:cubicBezTo>
                  <a:pt x="6944" y="7120"/>
                  <a:pt x="8688" y="6560"/>
                  <a:pt x="8896" y="6560"/>
                </a:cubicBezTo>
                <a:cubicBezTo>
                  <a:pt x="9104" y="6560"/>
                  <a:pt x="10832" y="7120"/>
                  <a:pt x="10832" y="7120"/>
                </a:cubicBezTo>
                <a:lnTo>
                  <a:pt x="10832" y="8720"/>
                </a:lnTo>
                <a:close/>
                <a:moveTo>
                  <a:pt x="9616" y="8352"/>
                </a:moveTo>
                <a:cubicBezTo>
                  <a:pt x="9680" y="8464"/>
                  <a:pt x="9712" y="8592"/>
                  <a:pt x="9712" y="8720"/>
                </a:cubicBezTo>
                <a:cubicBezTo>
                  <a:pt x="9712" y="9168"/>
                  <a:pt x="9344" y="9520"/>
                  <a:pt x="8912" y="9520"/>
                </a:cubicBezTo>
                <a:cubicBezTo>
                  <a:pt x="8464" y="9520"/>
                  <a:pt x="8112" y="9152"/>
                  <a:pt x="8112" y="8720"/>
                </a:cubicBezTo>
                <a:cubicBezTo>
                  <a:pt x="8112" y="8288"/>
                  <a:pt x="8480" y="7920"/>
                  <a:pt x="8912" y="7920"/>
                </a:cubicBezTo>
                <a:cubicBezTo>
                  <a:pt x="9088" y="7920"/>
                  <a:pt x="9248" y="7968"/>
                  <a:pt x="9376" y="8080"/>
                </a:cubicBezTo>
                <a:lnTo>
                  <a:pt x="9648" y="7632"/>
                </a:lnTo>
                <a:cubicBezTo>
                  <a:pt x="9424" y="7472"/>
                  <a:pt x="9152" y="7392"/>
                  <a:pt x="8880" y="7392"/>
                </a:cubicBezTo>
                <a:cubicBezTo>
                  <a:pt x="8144" y="7392"/>
                  <a:pt x="7536" y="7984"/>
                  <a:pt x="7536" y="8736"/>
                </a:cubicBezTo>
                <a:cubicBezTo>
                  <a:pt x="7536" y="9488"/>
                  <a:pt x="8128" y="10080"/>
                  <a:pt x="8880" y="10080"/>
                </a:cubicBezTo>
                <a:cubicBezTo>
                  <a:pt x="9632" y="10080"/>
                  <a:pt x="10224" y="9488"/>
                  <a:pt x="10224" y="8736"/>
                </a:cubicBezTo>
                <a:cubicBezTo>
                  <a:pt x="10224" y="8528"/>
                  <a:pt x="10176" y="8336"/>
                  <a:pt x="10096" y="8160"/>
                </a:cubicBezTo>
                <a:lnTo>
                  <a:pt x="9616" y="8352"/>
                </a:lnTo>
                <a:close/>
                <a:moveTo>
                  <a:pt x="10096" y="7088"/>
                </a:moveTo>
                <a:lnTo>
                  <a:pt x="9296" y="8384"/>
                </a:lnTo>
                <a:lnTo>
                  <a:pt x="10640" y="7792"/>
                </a:lnTo>
                <a:lnTo>
                  <a:pt x="10224" y="7568"/>
                </a:lnTo>
                <a:lnTo>
                  <a:pt x="10096" y="7088"/>
                </a:lnTo>
                <a:close/>
                <a:moveTo>
                  <a:pt x="6928" y="5776"/>
                </a:moveTo>
                <a:lnTo>
                  <a:pt x="8480" y="5776"/>
                </a:lnTo>
                <a:lnTo>
                  <a:pt x="8480" y="848"/>
                </a:lnTo>
                <a:cubicBezTo>
                  <a:pt x="8480" y="384"/>
                  <a:pt x="8096" y="0"/>
                  <a:pt x="7632" y="0"/>
                </a:cubicBezTo>
                <a:lnTo>
                  <a:pt x="864" y="0"/>
                </a:lnTo>
                <a:cubicBezTo>
                  <a:pt x="384" y="0"/>
                  <a:pt x="0" y="384"/>
                  <a:pt x="0" y="848"/>
                </a:cubicBezTo>
                <a:lnTo>
                  <a:pt x="0" y="10480"/>
                </a:lnTo>
                <a:cubicBezTo>
                  <a:pt x="0" y="10944"/>
                  <a:pt x="384" y="11328"/>
                  <a:pt x="848" y="11328"/>
                </a:cubicBezTo>
                <a:lnTo>
                  <a:pt x="6032" y="11328"/>
                </a:lnTo>
                <a:lnTo>
                  <a:pt x="6032" y="6656"/>
                </a:lnTo>
                <a:cubicBezTo>
                  <a:pt x="6048" y="6176"/>
                  <a:pt x="6448" y="5776"/>
                  <a:pt x="6928" y="5776"/>
                </a:cubicBezTo>
                <a:close/>
                <a:moveTo>
                  <a:pt x="2048" y="1392"/>
                </a:moveTo>
                <a:lnTo>
                  <a:pt x="6448" y="1392"/>
                </a:lnTo>
                <a:cubicBezTo>
                  <a:pt x="6832" y="1392"/>
                  <a:pt x="7152" y="1712"/>
                  <a:pt x="7152" y="2096"/>
                </a:cubicBezTo>
                <a:cubicBezTo>
                  <a:pt x="7152" y="2480"/>
                  <a:pt x="6832" y="2800"/>
                  <a:pt x="6448" y="2800"/>
                </a:cubicBezTo>
                <a:lnTo>
                  <a:pt x="2048" y="2800"/>
                </a:lnTo>
                <a:cubicBezTo>
                  <a:pt x="1664" y="2800"/>
                  <a:pt x="1344" y="2480"/>
                  <a:pt x="1344" y="2096"/>
                </a:cubicBezTo>
                <a:cubicBezTo>
                  <a:pt x="1344" y="1712"/>
                  <a:pt x="1664" y="1392"/>
                  <a:pt x="2048" y="1392"/>
                </a:cubicBezTo>
                <a:close/>
                <a:moveTo>
                  <a:pt x="1344" y="4256"/>
                </a:moveTo>
                <a:cubicBezTo>
                  <a:pt x="1344" y="3872"/>
                  <a:pt x="1664" y="3552"/>
                  <a:pt x="2048" y="3552"/>
                </a:cubicBezTo>
                <a:lnTo>
                  <a:pt x="6448" y="3552"/>
                </a:lnTo>
                <a:cubicBezTo>
                  <a:pt x="6832" y="3552"/>
                  <a:pt x="7152" y="3872"/>
                  <a:pt x="7152" y="4256"/>
                </a:cubicBezTo>
                <a:cubicBezTo>
                  <a:pt x="7152" y="4640"/>
                  <a:pt x="6832" y="4960"/>
                  <a:pt x="6448" y="4960"/>
                </a:cubicBezTo>
                <a:lnTo>
                  <a:pt x="2048" y="4960"/>
                </a:lnTo>
                <a:cubicBezTo>
                  <a:pt x="1664" y="4944"/>
                  <a:pt x="1344" y="4624"/>
                  <a:pt x="1344" y="4256"/>
                </a:cubicBezTo>
                <a:close/>
                <a:moveTo>
                  <a:pt x="4240" y="8160"/>
                </a:moveTo>
                <a:cubicBezTo>
                  <a:pt x="3664" y="8160"/>
                  <a:pt x="3200" y="7696"/>
                  <a:pt x="3200" y="7120"/>
                </a:cubicBezTo>
                <a:cubicBezTo>
                  <a:pt x="3200" y="6544"/>
                  <a:pt x="3664" y="6080"/>
                  <a:pt x="4240" y="6080"/>
                </a:cubicBezTo>
                <a:cubicBezTo>
                  <a:pt x="4816" y="6080"/>
                  <a:pt x="5280" y="6544"/>
                  <a:pt x="5280" y="7120"/>
                </a:cubicBezTo>
                <a:cubicBezTo>
                  <a:pt x="5296" y="7696"/>
                  <a:pt x="4832" y="8160"/>
                  <a:pt x="4240" y="816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</p:sp>
      <p:pic>
        <p:nvPicPr>
          <p:cNvPr id="58" name="图形 44" descr="Ui Ux">
            <a:extLst>
              <a:ext uri="{FF2B5EF4-FFF2-40B4-BE49-F238E27FC236}">
                <a16:creationId xmlns:a16="http://schemas.microsoft.com/office/drawing/2014/main" id="{D30514A1-FC62-4BA1-9198-8D515C33346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214125" y="1316800"/>
            <a:ext cx="338196" cy="338196"/>
          </a:xfrm>
          <a:prstGeom prst="rect">
            <a:avLst/>
          </a:prstGeom>
          <a:noFill/>
        </p:spPr>
      </p:pic>
      <p:cxnSp>
        <p:nvCxnSpPr>
          <p:cNvPr id="7" name="直接连接符 6"/>
          <p:cNvCxnSpPr>
            <a:stCxn id="62" idx="2"/>
          </p:cNvCxnSpPr>
          <p:nvPr/>
        </p:nvCxnSpPr>
        <p:spPr>
          <a:xfrm>
            <a:off x="1707835" y="1699188"/>
            <a:ext cx="0" cy="8728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/>
          <p:nvPr/>
        </p:nvCxnSpPr>
        <p:spPr>
          <a:xfrm>
            <a:off x="4577363" y="1685777"/>
            <a:ext cx="0" cy="880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2580364" y="1909504"/>
            <a:ext cx="748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equest</a:t>
            </a:r>
            <a:endParaRPr lang="zh-CN" altLang="en-US" sz="1200" b="1" dirty="0"/>
          </a:p>
        </p:txBody>
      </p:sp>
      <p:cxnSp>
        <p:nvCxnSpPr>
          <p:cNvPr id="23" name="直接箭头连接符 22"/>
          <p:cNvCxnSpPr/>
          <p:nvPr/>
        </p:nvCxnSpPr>
        <p:spPr>
          <a:xfrm>
            <a:off x="1707835" y="2152061"/>
            <a:ext cx="28695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/>
          <p:cNvCxnSpPr/>
          <p:nvPr/>
        </p:nvCxnSpPr>
        <p:spPr>
          <a:xfrm flipH="1">
            <a:off x="1707835" y="2566377"/>
            <a:ext cx="28695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/>
          <p:cNvSpPr txBox="1"/>
          <p:nvPr/>
        </p:nvSpPr>
        <p:spPr>
          <a:xfrm>
            <a:off x="2585467" y="2328866"/>
            <a:ext cx="8499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esponse</a:t>
            </a:r>
            <a:endParaRPr lang="zh-CN" altLang="en-US" sz="1200" b="1" dirty="0"/>
          </a:p>
        </p:txBody>
      </p:sp>
      <p:sp>
        <p:nvSpPr>
          <p:cNvPr id="42" name="右大括号 41"/>
          <p:cNvSpPr/>
          <p:nvPr/>
        </p:nvSpPr>
        <p:spPr>
          <a:xfrm>
            <a:off x="4658349" y="2152061"/>
            <a:ext cx="156519" cy="41431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3" name="文本框 72"/>
          <p:cNvSpPr txBox="1"/>
          <p:nvPr/>
        </p:nvSpPr>
        <p:spPr>
          <a:xfrm>
            <a:off x="4841192" y="2208583"/>
            <a:ext cx="365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RT</a:t>
            </a:r>
            <a:endParaRPr lang="zh-CN" altLang="en-US" sz="1200" b="1" dirty="0"/>
          </a:p>
        </p:txBody>
      </p:sp>
      <p:cxnSp>
        <p:nvCxnSpPr>
          <p:cNvPr id="75" name="直接连接符 74"/>
          <p:cNvCxnSpPr/>
          <p:nvPr/>
        </p:nvCxnSpPr>
        <p:spPr>
          <a:xfrm flipV="1">
            <a:off x="748323" y="2866326"/>
            <a:ext cx="4808220" cy="24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595634" y="3453423"/>
            <a:ext cx="1455234" cy="423986"/>
          </a:xfrm>
          <a:prstGeom prst="roundRect">
            <a:avLst/>
          </a:prstGeom>
          <a:solidFill>
            <a:srgbClr val="00B0F0"/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Server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222531" y="3453354"/>
            <a:ext cx="1455234" cy="4239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        Client</a:t>
            </a:r>
            <a:endParaRPr 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1" name="iconfont-10459-4813175">
            <a:extLst>
              <a:ext uri="{FF2B5EF4-FFF2-40B4-BE49-F238E27FC236}">
                <a16:creationId xmlns:a16="http://schemas.microsoft.com/office/drawing/2014/main" id="{902BFE5B-B8FF-4143-BEB9-B2F612CFACFA}"/>
              </a:ext>
            </a:extLst>
          </p:cNvPr>
          <p:cNvSpPr>
            <a:spLocks noChangeAspect="1"/>
          </p:cNvSpPr>
          <p:nvPr/>
        </p:nvSpPr>
        <p:spPr bwMode="auto">
          <a:xfrm>
            <a:off x="3840634" y="3540007"/>
            <a:ext cx="256870" cy="260187"/>
          </a:xfrm>
          <a:custGeom>
            <a:avLst/>
            <a:gdLst>
              <a:gd name="T0" fmla="*/ 6496 w 11296"/>
              <a:gd name="T1" fmla="*/ 6736 h 11440"/>
              <a:gd name="T2" fmla="*/ 6992 w 11296"/>
              <a:gd name="T3" fmla="*/ 10176 h 11440"/>
              <a:gd name="T4" fmla="*/ 10800 w 11296"/>
              <a:gd name="T5" fmla="*/ 10176 h 11440"/>
              <a:gd name="T6" fmla="*/ 11296 w 11296"/>
              <a:gd name="T7" fmla="*/ 6736 h 11440"/>
              <a:gd name="T8" fmla="*/ 10832 w 11296"/>
              <a:gd name="T9" fmla="*/ 8720 h 11440"/>
              <a:gd name="T10" fmla="*/ 8896 w 11296"/>
              <a:gd name="T11" fmla="*/ 10928 h 11440"/>
              <a:gd name="T12" fmla="*/ 6944 w 11296"/>
              <a:gd name="T13" fmla="*/ 8720 h 11440"/>
              <a:gd name="T14" fmla="*/ 8896 w 11296"/>
              <a:gd name="T15" fmla="*/ 6560 h 11440"/>
              <a:gd name="T16" fmla="*/ 10832 w 11296"/>
              <a:gd name="T17" fmla="*/ 8720 h 11440"/>
              <a:gd name="T18" fmla="*/ 9712 w 11296"/>
              <a:gd name="T19" fmla="*/ 8720 h 11440"/>
              <a:gd name="T20" fmla="*/ 8112 w 11296"/>
              <a:gd name="T21" fmla="*/ 8720 h 11440"/>
              <a:gd name="T22" fmla="*/ 9376 w 11296"/>
              <a:gd name="T23" fmla="*/ 8080 h 11440"/>
              <a:gd name="T24" fmla="*/ 8880 w 11296"/>
              <a:gd name="T25" fmla="*/ 7392 h 11440"/>
              <a:gd name="T26" fmla="*/ 8880 w 11296"/>
              <a:gd name="T27" fmla="*/ 10080 h 11440"/>
              <a:gd name="T28" fmla="*/ 10096 w 11296"/>
              <a:gd name="T29" fmla="*/ 8160 h 11440"/>
              <a:gd name="T30" fmla="*/ 10096 w 11296"/>
              <a:gd name="T31" fmla="*/ 7088 h 11440"/>
              <a:gd name="T32" fmla="*/ 10640 w 11296"/>
              <a:gd name="T33" fmla="*/ 7792 h 11440"/>
              <a:gd name="T34" fmla="*/ 10096 w 11296"/>
              <a:gd name="T35" fmla="*/ 7088 h 11440"/>
              <a:gd name="T36" fmla="*/ 8480 w 11296"/>
              <a:gd name="T37" fmla="*/ 5776 h 11440"/>
              <a:gd name="T38" fmla="*/ 7632 w 11296"/>
              <a:gd name="T39" fmla="*/ 0 h 11440"/>
              <a:gd name="T40" fmla="*/ 0 w 11296"/>
              <a:gd name="T41" fmla="*/ 848 h 11440"/>
              <a:gd name="T42" fmla="*/ 848 w 11296"/>
              <a:gd name="T43" fmla="*/ 11328 h 11440"/>
              <a:gd name="T44" fmla="*/ 6032 w 11296"/>
              <a:gd name="T45" fmla="*/ 6656 h 11440"/>
              <a:gd name="T46" fmla="*/ 2048 w 11296"/>
              <a:gd name="T47" fmla="*/ 1392 h 11440"/>
              <a:gd name="T48" fmla="*/ 7152 w 11296"/>
              <a:gd name="T49" fmla="*/ 2096 h 11440"/>
              <a:gd name="T50" fmla="*/ 2048 w 11296"/>
              <a:gd name="T51" fmla="*/ 2800 h 11440"/>
              <a:gd name="T52" fmla="*/ 2048 w 11296"/>
              <a:gd name="T53" fmla="*/ 1392 h 11440"/>
              <a:gd name="T54" fmla="*/ 2048 w 11296"/>
              <a:gd name="T55" fmla="*/ 3552 h 11440"/>
              <a:gd name="T56" fmla="*/ 7152 w 11296"/>
              <a:gd name="T57" fmla="*/ 4256 h 11440"/>
              <a:gd name="T58" fmla="*/ 2048 w 11296"/>
              <a:gd name="T59" fmla="*/ 4960 h 11440"/>
              <a:gd name="T60" fmla="*/ 4240 w 11296"/>
              <a:gd name="T61" fmla="*/ 8160 h 11440"/>
              <a:gd name="T62" fmla="*/ 4240 w 11296"/>
              <a:gd name="T63" fmla="*/ 6080 h 11440"/>
              <a:gd name="T64" fmla="*/ 4240 w 11296"/>
              <a:gd name="T65" fmla="*/ 8160 h 1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296" h="11440">
                <a:moveTo>
                  <a:pt x="8896" y="6048"/>
                </a:moveTo>
                <a:cubicBezTo>
                  <a:pt x="8640" y="6048"/>
                  <a:pt x="6496" y="6736"/>
                  <a:pt x="6496" y="6736"/>
                </a:cubicBezTo>
                <a:lnTo>
                  <a:pt x="6496" y="8720"/>
                </a:lnTo>
                <a:cubicBezTo>
                  <a:pt x="6496" y="8720"/>
                  <a:pt x="6528" y="9616"/>
                  <a:pt x="6992" y="10176"/>
                </a:cubicBezTo>
                <a:cubicBezTo>
                  <a:pt x="7856" y="11216"/>
                  <a:pt x="8896" y="11440"/>
                  <a:pt x="8896" y="11440"/>
                </a:cubicBezTo>
                <a:cubicBezTo>
                  <a:pt x="8896" y="11440"/>
                  <a:pt x="10128" y="11072"/>
                  <a:pt x="10800" y="10176"/>
                </a:cubicBezTo>
                <a:cubicBezTo>
                  <a:pt x="11232" y="9600"/>
                  <a:pt x="11296" y="8720"/>
                  <a:pt x="11296" y="8720"/>
                </a:cubicBezTo>
                <a:lnTo>
                  <a:pt x="11296" y="6736"/>
                </a:lnTo>
                <a:cubicBezTo>
                  <a:pt x="11280" y="6736"/>
                  <a:pt x="9152" y="6048"/>
                  <a:pt x="8896" y="6048"/>
                </a:cubicBezTo>
                <a:close/>
                <a:moveTo>
                  <a:pt x="10832" y="8720"/>
                </a:moveTo>
                <a:cubicBezTo>
                  <a:pt x="10832" y="8720"/>
                  <a:pt x="10784" y="9440"/>
                  <a:pt x="10432" y="9904"/>
                </a:cubicBezTo>
                <a:cubicBezTo>
                  <a:pt x="9888" y="10624"/>
                  <a:pt x="8896" y="10928"/>
                  <a:pt x="8896" y="10928"/>
                </a:cubicBezTo>
                <a:cubicBezTo>
                  <a:pt x="8896" y="10928"/>
                  <a:pt x="8048" y="10752"/>
                  <a:pt x="7344" y="9904"/>
                </a:cubicBezTo>
                <a:cubicBezTo>
                  <a:pt x="6976" y="9456"/>
                  <a:pt x="6944" y="8720"/>
                  <a:pt x="6944" y="8720"/>
                </a:cubicBezTo>
                <a:lnTo>
                  <a:pt x="6944" y="7120"/>
                </a:lnTo>
                <a:cubicBezTo>
                  <a:pt x="6944" y="7120"/>
                  <a:pt x="8688" y="6560"/>
                  <a:pt x="8896" y="6560"/>
                </a:cubicBezTo>
                <a:cubicBezTo>
                  <a:pt x="9104" y="6560"/>
                  <a:pt x="10832" y="7120"/>
                  <a:pt x="10832" y="7120"/>
                </a:cubicBezTo>
                <a:lnTo>
                  <a:pt x="10832" y="8720"/>
                </a:lnTo>
                <a:close/>
                <a:moveTo>
                  <a:pt x="9616" y="8352"/>
                </a:moveTo>
                <a:cubicBezTo>
                  <a:pt x="9680" y="8464"/>
                  <a:pt x="9712" y="8592"/>
                  <a:pt x="9712" y="8720"/>
                </a:cubicBezTo>
                <a:cubicBezTo>
                  <a:pt x="9712" y="9168"/>
                  <a:pt x="9344" y="9520"/>
                  <a:pt x="8912" y="9520"/>
                </a:cubicBezTo>
                <a:cubicBezTo>
                  <a:pt x="8464" y="9520"/>
                  <a:pt x="8112" y="9152"/>
                  <a:pt x="8112" y="8720"/>
                </a:cubicBezTo>
                <a:cubicBezTo>
                  <a:pt x="8112" y="8288"/>
                  <a:pt x="8480" y="7920"/>
                  <a:pt x="8912" y="7920"/>
                </a:cubicBezTo>
                <a:cubicBezTo>
                  <a:pt x="9088" y="7920"/>
                  <a:pt x="9248" y="7968"/>
                  <a:pt x="9376" y="8080"/>
                </a:cubicBezTo>
                <a:lnTo>
                  <a:pt x="9648" y="7632"/>
                </a:lnTo>
                <a:cubicBezTo>
                  <a:pt x="9424" y="7472"/>
                  <a:pt x="9152" y="7392"/>
                  <a:pt x="8880" y="7392"/>
                </a:cubicBezTo>
                <a:cubicBezTo>
                  <a:pt x="8144" y="7392"/>
                  <a:pt x="7536" y="7984"/>
                  <a:pt x="7536" y="8736"/>
                </a:cubicBezTo>
                <a:cubicBezTo>
                  <a:pt x="7536" y="9488"/>
                  <a:pt x="8128" y="10080"/>
                  <a:pt x="8880" y="10080"/>
                </a:cubicBezTo>
                <a:cubicBezTo>
                  <a:pt x="9632" y="10080"/>
                  <a:pt x="10224" y="9488"/>
                  <a:pt x="10224" y="8736"/>
                </a:cubicBezTo>
                <a:cubicBezTo>
                  <a:pt x="10224" y="8528"/>
                  <a:pt x="10176" y="8336"/>
                  <a:pt x="10096" y="8160"/>
                </a:cubicBezTo>
                <a:lnTo>
                  <a:pt x="9616" y="8352"/>
                </a:lnTo>
                <a:close/>
                <a:moveTo>
                  <a:pt x="10096" y="7088"/>
                </a:moveTo>
                <a:lnTo>
                  <a:pt x="9296" y="8384"/>
                </a:lnTo>
                <a:lnTo>
                  <a:pt x="10640" y="7792"/>
                </a:lnTo>
                <a:lnTo>
                  <a:pt x="10224" y="7568"/>
                </a:lnTo>
                <a:lnTo>
                  <a:pt x="10096" y="7088"/>
                </a:lnTo>
                <a:close/>
                <a:moveTo>
                  <a:pt x="6928" y="5776"/>
                </a:moveTo>
                <a:lnTo>
                  <a:pt x="8480" y="5776"/>
                </a:lnTo>
                <a:lnTo>
                  <a:pt x="8480" y="848"/>
                </a:lnTo>
                <a:cubicBezTo>
                  <a:pt x="8480" y="384"/>
                  <a:pt x="8096" y="0"/>
                  <a:pt x="7632" y="0"/>
                </a:cubicBezTo>
                <a:lnTo>
                  <a:pt x="864" y="0"/>
                </a:lnTo>
                <a:cubicBezTo>
                  <a:pt x="384" y="0"/>
                  <a:pt x="0" y="384"/>
                  <a:pt x="0" y="848"/>
                </a:cubicBezTo>
                <a:lnTo>
                  <a:pt x="0" y="10480"/>
                </a:lnTo>
                <a:cubicBezTo>
                  <a:pt x="0" y="10944"/>
                  <a:pt x="384" y="11328"/>
                  <a:pt x="848" y="11328"/>
                </a:cubicBezTo>
                <a:lnTo>
                  <a:pt x="6032" y="11328"/>
                </a:lnTo>
                <a:lnTo>
                  <a:pt x="6032" y="6656"/>
                </a:lnTo>
                <a:cubicBezTo>
                  <a:pt x="6048" y="6176"/>
                  <a:pt x="6448" y="5776"/>
                  <a:pt x="6928" y="5776"/>
                </a:cubicBezTo>
                <a:close/>
                <a:moveTo>
                  <a:pt x="2048" y="1392"/>
                </a:moveTo>
                <a:lnTo>
                  <a:pt x="6448" y="1392"/>
                </a:lnTo>
                <a:cubicBezTo>
                  <a:pt x="6832" y="1392"/>
                  <a:pt x="7152" y="1712"/>
                  <a:pt x="7152" y="2096"/>
                </a:cubicBezTo>
                <a:cubicBezTo>
                  <a:pt x="7152" y="2480"/>
                  <a:pt x="6832" y="2800"/>
                  <a:pt x="6448" y="2800"/>
                </a:cubicBezTo>
                <a:lnTo>
                  <a:pt x="2048" y="2800"/>
                </a:lnTo>
                <a:cubicBezTo>
                  <a:pt x="1664" y="2800"/>
                  <a:pt x="1344" y="2480"/>
                  <a:pt x="1344" y="2096"/>
                </a:cubicBezTo>
                <a:cubicBezTo>
                  <a:pt x="1344" y="1712"/>
                  <a:pt x="1664" y="1392"/>
                  <a:pt x="2048" y="1392"/>
                </a:cubicBezTo>
                <a:close/>
                <a:moveTo>
                  <a:pt x="1344" y="4256"/>
                </a:moveTo>
                <a:cubicBezTo>
                  <a:pt x="1344" y="3872"/>
                  <a:pt x="1664" y="3552"/>
                  <a:pt x="2048" y="3552"/>
                </a:cubicBezTo>
                <a:lnTo>
                  <a:pt x="6448" y="3552"/>
                </a:lnTo>
                <a:cubicBezTo>
                  <a:pt x="6832" y="3552"/>
                  <a:pt x="7152" y="3872"/>
                  <a:pt x="7152" y="4256"/>
                </a:cubicBezTo>
                <a:cubicBezTo>
                  <a:pt x="7152" y="4640"/>
                  <a:pt x="6832" y="4960"/>
                  <a:pt x="6448" y="4960"/>
                </a:cubicBezTo>
                <a:lnTo>
                  <a:pt x="2048" y="4960"/>
                </a:lnTo>
                <a:cubicBezTo>
                  <a:pt x="1664" y="4944"/>
                  <a:pt x="1344" y="4624"/>
                  <a:pt x="1344" y="4256"/>
                </a:cubicBezTo>
                <a:close/>
                <a:moveTo>
                  <a:pt x="4240" y="8160"/>
                </a:moveTo>
                <a:cubicBezTo>
                  <a:pt x="3664" y="8160"/>
                  <a:pt x="3200" y="7696"/>
                  <a:pt x="3200" y="7120"/>
                </a:cubicBezTo>
                <a:cubicBezTo>
                  <a:pt x="3200" y="6544"/>
                  <a:pt x="3664" y="6080"/>
                  <a:pt x="4240" y="6080"/>
                </a:cubicBezTo>
                <a:cubicBezTo>
                  <a:pt x="4816" y="6080"/>
                  <a:pt x="5280" y="6544"/>
                  <a:pt x="5280" y="7120"/>
                </a:cubicBezTo>
                <a:cubicBezTo>
                  <a:pt x="5296" y="7696"/>
                  <a:pt x="4832" y="8160"/>
                  <a:pt x="4240" y="816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</p:sp>
      <p:pic>
        <p:nvPicPr>
          <p:cNvPr id="82" name="图形 44" descr="Ui Ux">
            <a:extLst>
              <a:ext uri="{FF2B5EF4-FFF2-40B4-BE49-F238E27FC236}">
                <a16:creationId xmlns:a16="http://schemas.microsoft.com/office/drawing/2014/main" id="{D30514A1-FC62-4BA1-9198-8D515C33346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56438" y="3485117"/>
            <a:ext cx="338196" cy="338196"/>
          </a:xfrm>
          <a:prstGeom prst="rect">
            <a:avLst/>
          </a:prstGeom>
          <a:noFill/>
        </p:spPr>
      </p:pic>
      <p:cxnSp>
        <p:nvCxnSpPr>
          <p:cNvPr id="84" name="直接连接符 83"/>
          <p:cNvCxnSpPr/>
          <p:nvPr/>
        </p:nvCxnSpPr>
        <p:spPr>
          <a:xfrm>
            <a:off x="1956643" y="3877340"/>
            <a:ext cx="0" cy="22116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>
            <a:stCxn id="79" idx="2"/>
          </p:cNvCxnSpPr>
          <p:nvPr/>
        </p:nvCxnSpPr>
        <p:spPr>
          <a:xfrm>
            <a:off x="4323251" y="3877409"/>
            <a:ext cx="0" cy="22017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本框 87"/>
          <p:cNvSpPr txBox="1"/>
          <p:nvPr/>
        </p:nvSpPr>
        <p:spPr>
          <a:xfrm>
            <a:off x="2522239" y="3930559"/>
            <a:ext cx="17103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Open Connection</a:t>
            </a:r>
            <a:endParaRPr lang="zh-CN" altLang="en-US" sz="11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9" name="直接箭头连接符 88"/>
          <p:cNvCxnSpPr/>
          <p:nvPr/>
        </p:nvCxnSpPr>
        <p:spPr>
          <a:xfrm>
            <a:off x="1968510" y="4156640"/>
            <a:ext cx="2373352" cy="27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箭头连接符 91"/>
          <p:cNvCxnSpPr/>
          <p:nvPr/>
        </p:nvCxnSpPr>
        <p:spPr>
          <a:xfrm flipH="1">
            <a:off x="1968510" y="4613133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文本框 92"/>
          <p:cNvSpPr txBox="1"/>
          <p:nvPr/>
        </p:nvSpPr>
        <p:spPr>
          <a:xfrm>
            <a:off x="2534355" y="4336134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1: </a:t>
            </a:r>
            <a:r>
              <a:rPr lang="zh-CN" altLang="en-US" sz="1200" b="1" dirty="0" smtClean="0"/>
              <a:t>我来自</a:t>
            </a:r>
            <a:endParaRPr lang="zh-CN" altLang="en-US" sz="1200" b="1" dirty="0"/>
          </a:p>
        </p:txBody>
      </p:sp>
      <p:cxnSp>
        <p:nvCxnSpPr>
          <p:cNvPr id="96" name="直接箭头连接符 95"/>
          <p:cNvCxnSpPr/>
          <p:nvPr/>
        </p:nvCxnSpPr>
        <p:spPr>
          <a:xfrm flipH="1">
            <a:off x="1972438" y="4963656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96"/>
          <p:cNvSpPr txBox="1"/>
          <p:nvPr/>
        </p:nvSpPr>
        <p:spPr>
          <a:xfrm>
            <a:off x="2538283" y="4686657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2: </a:t>
            </a:r>
            <a:r>
              <a:rPr lang="zh-CN" altLang="en-US" sz="1200" b="1" dirty="0" smtClean="0"/>
              <a:t>平台</a:t>
            </a:r>
            <a:endParaRPr lang="zh-CN" altLang="en-US" sz="1200" b="1" dirty="0"/>
          </a:p>
        </p:txBody>
      </p:sp>
      <p:cxnSp>
        <p:nvCxnSpPr>
          <p:cNvPr id="98" name="直接箭头连接符 97"/>
          <p:cNvCxnSpPr/>
          <p:nvPr/>
        </p:nvCxnSpPr>
        <p:spPr>
          <a:xfrm flipH="1">
            <a:off x="1956643" y="5314178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文本框 98"/>
          <p:cNvSpPr txBox="1"/>
          <p:nvPr/>
        </p:nvSpPr>
        <p:spPr>
          <a:xfrm>
            <a:off x="2534355" y="5037179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3: </a:t>
            </a:r>
            <a:r>
              <a:rPr lang="zh-CN" altLang="en-US" sz="1200" b="1" dirty="0" smtClean="0"/>
              <a:t>科技</a:t>
            </a:r>
            <a:endParaRPr lang="zh-CN" altLang="en-US" sz="1200" b="1" dirty="0"/>
          </a:p>
        </p:txBody>
      </p:sp>
      <p:cxnSp>
        <p:nvCxnSpPr>
          <p:cNvPr id="100" name="直接箭头连接符 99"/>
          <p:cNvCxnSpPr/>
          <p:nvPr/>
        </p:nvCxnSpPr>
        <p:spPr>
          <a:xfrm flipH="1">
            <a:off x="1971666" y="5679992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文本框 100"/>
          <p:cNvSpPr txBox="1"/>
          <p:nvPr/>
        </p:nvSpPr>
        <p:spPr>
          <a:xfrm>
            <a:off x="2549378" y="5402993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/>
              <a:t>Event 4: </a:t>
            </a:r>
            <a:r>
              <a:rPr lang="zh-CN" altLang="en-US" sz="1200" b="1" dirty="0" smtClean="0"/>
              <a:t>质量</a:t>
            </a:r>
            <a:r>
              <a:rPr lang="zh-CN" altLang="en-US" sz="1200" b="1" dirty="0"/>
              <a:t>部</a:t>
            </a:r>
          </a:p>
        </p:txBody>
      </p:sp>
      <p:cxnSp>
        <p:nvCxnSpPr>
          <p:cNvPr id="102" name="直接箭头连接符 101"/>
          <p:cNvCxnSpPr/>
          <p:nvPr/>
        </p:nvCxnSpPr>
        <p:spPr>
          <a:xfrm flipH="1">
            <a:off x="1956643" y="6031698"/>
            <a:ext cx="237335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文本框 102"/>
          <p:cNvSpPr txBox="1"/>
          <p:nvPr/>
        </p:nvSpPr>
        <p:spPr>
          <a:xfrm>
            <a:off x="2534355" y="5754699"/>
            <a:ext cx="13997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Close </a:t>
            </a:r>
            <a:r>
              <a:rPr lang="en-US" altLang="zh-CN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nnection</a:t>
            </a:r>
            <a:endParaRPr lang="zh-CN" altLang="en-US" sz="12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14" name="直接连接符 113"/>
          <p:cNvCxnSpPr/>
          <p:nvPr/>
        </p:nvCxnSpPr>
        <p:spPr>
          <a:xfrm>
            <a:off x="1186990" y="4161935"/>
            <a:ext cx="48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接连接符 117"/>
          <p:cNvCxnSpPr/>
          <p:nvPr/>
        </p:nvCxnSpPr>
        <p:spPr>
          <a:xfrm>
            <a:off x="1186683" y="6011371"/>
            <a:ext cx="24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18"/>
          <p:cNvCxnSpPr/>
          <p:nvPr/>
        </p:nvCxnSpPr>
        <p:spPr>
          <a:xfrm>
            <a:off x="1431483" y="5677160"/>
            <a:ext cx="24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连接符 127"/>
          <p:cNvCxnSpPr/>
          <p:nvPr/>
        </p:nvCxnSpPr>
        <p:spPr>
          <a:xfrm>
            <a:off x="1552321" y="4163390"/>
            <a:ext cx="4337" cy="15176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文本框 135"/>
          <p:cNvSpPr txBox="1"/>
          <p:nvPr/>
        </p:nvSpPr>
        <p:spPr>
          <a:xfrm>
            <a:off x="796963" y="4694924"/>
            <a:ext cx="10310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 smtClean="0"/>
              <a:t>LastToken</a:t>
            </a:r>
            <a:r>
              <a:rPr lang="zh-CN" altLang="en-US" sz="1000" b="1" dirty="0" smtClean="0"/>
              <a:t>耗时</a:t>
            </a:r>
            <a:endParaRPr lang="zh-CN" altLang="en-US" sz="1000" b="1" dirty="0"/>
          </a:p>
        </p:txBody>
      </p:sp>
      <p:sp>
        <p:nvSpPr>
          <p:cNvPr id="137" name="文本框 136"/>
          <p:cNvSpPr txBox="1"/>
          <p:nvPr/>
        </p:nvSpPr>
        <p:spPr>
          <a:xfrm>
            <a:off x="606750" y="5700662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 smtClean="0"/>
              <a:t>会话整体耗时</a:t>
            </a:r>
            <a:endParaRPr lang="zh-CN" altLang="en-US" sz="1000" b="1" dirty="0"/>
          </a:p>
        </p:txBody>
      </p:sp>
      <p:sp>
        <p:nvSpPr>
          <p:cNvPr id="138" name="右大括号 137"/>
          <p:cNvSpPr/>
          <p:nvPr/>
        </p:nvSpPr>
        <p:spPr>
          <a:xfrm>
            <a:off x="4352854" y="4166544"/>
            <a:ext cx="156519" cy="445407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9" name="文本框 138"/>
          <p:cNvSpPr txBox="1"/>
          <p:nvPr/>
        </p:nvSpPr>
        <p:spPr>
          <a:xfrm>
            <a:off x="4481241" y="4251158"/>
            <a:ext cx="10470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b="1" dirty="0" smtClean="0"/>
              <a:t>FirstToken</a:t>
            </a:r>
            <a:r>
              <a:rPr lang="zh-CN" altLang="en-US" sz="1000" b="1" dirty="0" smtClean="0"/>
              <a:t>耗时</a:t>
            </a:r>
            <a:endParaRPr lang="zh-CN" altLang="en-US" sz="1000" b="1" dirty="0"/>
          </a:p>
        </p:txBody>
      </p:sp>
      <p:sp>
        <p:nvSpPr>
          <p:cNvPr id="140" name="右大括号 139"/>
          <p:cNvSpPr/>
          <p:nvPr/>
        </p:nvSpPr>
        <p:spPr>
          <a:xfrm>
            <a:off x="4352855" y="4613454"/>
            <a:ext cx="156519" cy="34901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1" name="右大括号 140"/>
          <p:cNvSpPr/>
          <p:nvPr/>
        </p:nvSpPr>
        <p:spPr>
          <a:xfrm>
            <a:off x="4352854" y="4962352"/>
            <a:ext cx="156519" cy="35182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2" name="右大括号 141"/>
          <p:cNvSpPr/>
          <p:nvPr/>
        </p:nvSpPr>
        <p:spPr>
          <a:xfrm>
            <a:off x="4352854" y="5321110"/>
            <a:ext cx="156519" cy="356049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3" name="文本框 142"/>
          <p:cNvSpPr txBox="1"/>
          <p:nvPr/>
        </p:nvSpPr>
        <p:spPr>
          <a:xfrm>
            <a:off x="4509372" y="466514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 smtClean="0"/>
              <a:t>推理间隔</a:t>
            </a:r>
            <a:endParaRPr lang="zh-CN" altLang="en-US" sz="1000" b="1" dirty="0"/>
          </a:p>
        </p:txBody>
      </p:sp>
      <p:sp>
        <p:nvSpPr>
          <p:cNvPr id="144" name="文本框 143"/>
          <p:cNvSpPr txBox="1"/>
          <p:nvPr/>
        </p:nvSpPr>
        <p:spPr>
          <a:xfrm>
            <a:off x="4509373" y="500350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/>
              <a:t>推理间隔</a:t>
            </a:r>
          </a:p>
        </p:txBody>
      </p:sp>
      <p:sp>
        <p:nvSpPr>
          <p:cNvPr id="145" name="文本框 144"/>
          <p:cNvSpPr txBox="1"/>
          <p:nvPr/>
        </p:nvSpPr>
        <p:spPr>
          <a:xfrm>
            <a:off x="4509371" y="537602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dirty="0"/>
              <a:t>推理间隔</a:t>
            </a:r>
          </a:p>
        </p:txBody>
      </p:sp>
      <p:cxnSp>
        <p:nvCxnSpPr>
          <p:cNvPr id="123" name="直接连接符 122"/>
          <p:cNvCxnSpPr/>
          <p:nvPr/>
        </p:nvCxnSpPr>
        <p:spPr>
          <a:xfrm>
            <a:off x="1309083" y="4163390"/>
            <a:ext cx="1" cy="1843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614299" y="306456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流式接口</a:t>
            </a:r>
            <a:endParaRPr lang="zh-CN" altLang="en-US" b="1" dirty="0"/>
          </a:p>
        </p:txBody>
      </p:sp>
      <p:sp>
        <p:nvSpPr>
          <p:cNvPr id="50" name="文本框 49"/>
          <p:cNvSpPr txBox="1"/>
          <p:nvPr/>
        </p:nvSpPr>
        <p:spPr>
          <a:xfrm>
            <a:off x="2583041" y="834621"/>
            <a:ext cx="1204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/>
              <a:t>HTTP</a:t>
            </a:r>
            <a:r>
              <a:rPr lang="zh-CN" altLang="en-US" b="1" dirty="0" smtClean="0"/>
              <a:t>请求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8878602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66892" y="564925"/>
            <a:ext cx="7174955" cy="565612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117" name="直接连接符 116"/>
          <p:cNvCxnSpPr/>
          <p:nvPr/>
        </p:nvCxnSpPr>
        <p:spPr>
          <a:xfrm>
            <a:off x="4256054" y="1205788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连接符 119"/>
          <p:cNvCxnSpPr/>
          <p:nvPr/>
        </p:nvCxnSpPr>
        <p:spPr>
          <a:xfrm>
            <a:off x="5435911" y="1231202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120"/>
          <p:cNvCxnSpPr/>
          <p:nvPr/>
        </p:nvCxnSpPr>
        <p:spPr>
          <a:xfrm>
            <a:off x="6634357" y="1231201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连接符 115"/>
          <p:cNvCxnSpPr/>
          <p:nvPr/>
        </p:nvCxnSpPr>
        <p:spPr>
          <a:xfrm>
            <a:off x="3045066" y="1233267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>
            <a:stCxn id="69" idx="2"/>
          </p:cNvCxnSpPr>
          <p:nvPr/>
        </p:nvCxnSpPr>
        <p:spPr>
          <a:xfrm>
            <a:off x="1805651" y="1233267"/>
            <a:ext cx="3323" cy="4582687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741195" y="1495954"/>
            <a:ext cx="115200" cy="4320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iconfont-11464-5383808">
            <a:extLst>
              <a:ext uri="{FF2B5EF4-FFF2-40B4-BE49-F238E27FC236}">
                <a16:creationId xmlns:a16="http://schemas.microsoft.com/office/drawing/2014/main" id="{54405246-CCE2-4201-BBB1-D3F3EB6E740D}"/>
              </a:ext>
            </a:extLst>
          </p:cNvPr>
          <p:cNvSpPr>
            <a:spLocks/>
          </p:cNvSpPr>
          <p:nvPr/>
        </p:nvSpPr>
        <p:spPr>
          <a:xfrm>
            <a:off x="554893" y="801268"/>
            <a:ext cx="492370" cy="432000"/>
          </a:xfrm>
          <a:custGeom>
            <a:avLst/>
            <a:gdLst>
              <a:gd name="connsiteX0" fmla="*/ 479515 w 609540"/>
              <a:gd name="connsiteY0" fmla="*/ 79862 h 471112"/>
              <a:gd name="connsiteX1" fmla="*/ 565135 w 609540"/>
              <a:gd name="connsiteY1" fmla="*/ 149295 h 471112"/>
              <a:gd name="connsiteX2" fmla="*/ 525278 w 609540"/>
              <a:gd name="connsiteY2" fmla="*/ 252064 h 471112"/>
              <a:gd name="connsiteX3" fmla="*/ 526564 w 609540"/>
              <a:gd name="connsiteY3" fmla="*/ 265827 h 471112"/>
              <a:gd name="connsiteX4" fmla="*/ 609279 w 609540"/>
              <a:gd name="connsiteY4" fmla="*/ 368643 h 471112"/>
              <a:gd name="connsiteX5" fmla="*/ 589850 w 609540"/>
              <a:gd name="connsiteY5" fmla="*/ 391406 h 471112"/>
              <a:gd name="connsiteX6" fmla="*/ 530278 w 609540"/>
              <a:gd name="connsiteY6" fmla="*/ 391406 h 471112"/>
              <a:gd name="connsiteX7" fmla="*/ 426705 w 609540"/>
              <a:gd name="connsiteY7" fmla="*/ 266208 h 471112"/>
              <a:gd name="connsiteX8" fmla="*/ 479087 w 609540"/>
              <a:gd name="connsiteY8" fmla="*/ 137723 h 471112"/>
              <a:gd name="connsiteX9" fmla="*/ 467849 w 609540"/>
              <a:gd name="connsiteY9" fmla="*/ 79958 h 471112"/>
              <a:gd name="connsiteX10" fmla="*/ 479515 w 609540"/>
              <a:gd name="connsiteY10" fmla="*/ 79862 h 471112"/>
              <a:gd name="connsiteX11" fmla="*/ 140131 w 609540"/>
              <a:gd name="connsiteY11" fmla="*/ 79862 h 471112"/>
              <a:gd name="connsiteX12" fmla="*/ 141512 w 609540"/>
              <a:gd name="connsiteY12" fmla="*/ 79958 h 471112"/>
              <a:gd name="connsiteX13" fmla="*/ 182750 w 609540"/>
              <a:gd name="connsiteY13" fmla="*/ 266255 h 471112"/>
              <a:gd name="connsiteX14" fmla="*/ 182703 w 609540"/>
              <a:gd name="connsiteY14" fmla="*/ 266255 h 471112"/>
              <a:gd name="connsiteX15" fmla="*/ 79225 w 609540"/>
              <a:gd name="connsiteY15" fmla="*/ 391454 h 471112"/>
              <a:gd name="connsiteX16" fmla="*/ 19701 w 609540"/>
              <a:gd name="connsiteY16" fmla="*/ 391454 h 471112"/>
              <a:gd name="connsiteX17" fmla="*/ 272 w 609540"/>
              <a:gd name="connsiteY17" fmla="*/ 368643 h 471112"/>
              <a:gd name="connsiteX18" fmla="*/ 82987 w 609540"/>
              <a:gd name="connsiteY18" fmla="*/ 265827 h 471112"/>
              <a:gd name="connsiteX19" fmla="*/ 84321 w 609540"/>
              <a:gd name="connsiteY19" fmla="*/ 252064 h 471112"/>
              <a:gd name="connsiteX20" fmla="*/ 45844 w 609540"/>
              <a:gd name="connsiteY20" fmla="*/ 144438 h 471112"/>
              <a:gd name="connsiteX21" fmla="*/ 140131 w 609540"/>
              <a:gd name="connsiteY21" fmla="*/ 79862 h 471112"/>
              <a:gd name="connsiteX22" fmla="*/ 312419 w 609540"/>
              <a:gd name="connsiteY22" fmla="*/ 209 h 471112"/>
              <a:gd name="connsiteX23" fmla="*/ 446289 w 609540"/>
              <a:gd name="connsiteY23" fmla="*/ 138475 h 471112"/>
              <a:gd name="connsiteX24" fmla="*/ 381616 w 609540"/>
              <a:gd name="connsiteY24" fmla="*/ 260451 h 471112"/>
              <a:gd name="connsiteX25" fmla="*/ 383521 w 609540"/>
              <a:gd name="connsiteY25" fmla="*/ 281312 h 471112"/>
              <a:gd name="connsiteX26" fmla="*/ 508439 w 609540"/>
              <a:gd name="connsiteY26" fmla="*/ 436629 h 471112"/>
              <a:gd name="connsiteX27" fmla="*/ 479197 w 609540"/>
              <a:gd name="connsiteY27" fmla="*/ 471112 h 471112"/>
              <a:gd name="connsiteX28" fmla="*/ 130352 w 609540"/>
              <a:gd name="connsiteY28" fmla="*/ 471112 h 471112"/>
              <a:gd name="connsiteX29" fmla="*/ 101064 w 609540"/>
              <a:gd name="connsiteY29" fmla="*/ 436629 h 471112"/>
              <a:gd name="connsiteX30" fmla="*/ 225981 w 609540"/>
              <a:gd name="connsiteY30" fmla="*/ 281265 h 471112"/>
              <a:gd name="connsiteX31" fmla="*/ 227934 w 609540"/>
              <a:gd name="connsiteY31" fmla="*/ 260451 h 471112"/>
              <a:gd name="connsiteX32" fmla="*/ 170118 w 609540"/>
              <a:gd name="connsiteY32" fmla="*/ 97848 h 471112"/>
              <a:gd name="connsiteX33" fmla="*/ 312419 w 609540"/>
              <a:gd name="connsiteY33" fmla="*/ 209 h 471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609540" h="471112">
                <a:moveTo>
                  <a:pt x="479515" y="79862"/>
                </a:moveTo>
                <a:cubicBezTo>
                  <a:pt x="520135" y="81958"/>
                  <a:pt x="554707" y="110007"/>
                  <a:pt x="565135" y="149295"/>
                </a:cubicBezTo>
                <a:cubicBezTo>
                  <a:pt x="575564" y="188584"/>
                  <a:pt x="559469" y="230110"/>
                  <a:pt x="525278" y="252064"/>
                </a:cubicBezTo>
                <a:cubicBezTo>
                  <a:pt x="519992" y="255493"/>
                  <a:pt x="520706" y="263446"/>
                  <a:pt x="526564" y="265827"/>
                </a:cubicBezTo>
                <a:cubicBezTo>
                  <a:pt x="569897" y="283685"/>
                  <a:pt x="601088" y="322497"/>
                  <a:pt x="609279" y="368643"/>
                </a:cubicBezTo>
                <a:cubicBezTo>
                  <a:pt x="611231" y="380596"/>
                  <a:pt x="601993" y="391502"/>
                  <a:pt x="589850" y="391406"/>
                </a:cubicBezTo>
                <a:lnTo>
                  <a:pt x="530278" y="391406"/>
                </a:lnTo>
                <a:cubicBezTo>
                  <a:pt x="511373" y="338879"/>
                  <a:pt x="474753" y="294591"/>
                  <a:pt x="426705" y="266208"/>
                </a:cubicBezTo>
                <a:cubicBezTo>
                  <a:pt x="461229" y="232491"/>
                  <a:pt x="480230" y="185964"/>
                  <a:pt x="479087" y="137723"/>
                </a:cubicBezTo>
                <a:cubicBezTo>
                  <a:pt x="478706" y="117960"/>
                  <a:pt x="474896" y="98435"/>
                  <a:pt x="467849" y="79958"/>
                </a:cubicBezTo>
                <a:cubicBezTo>
                  <a:pt x="471753" y="79672"/>
                  <a:pt x="475658" y="79672"/>
                  <a:pt x="479515" y="79862"/>
                </a:cubicBezTo>
                <a:close/>
                <a:moveTo>
                  <a:pt x="140131" y="79862"/>
                </a:moveTo>
                <a:lnTo>
                  <a:pt x="141512" y="79958"/>
                </a:lnTo>
                <a:cubicBezTo>
                  <a:pt x="117178" y="144724"/>
                  <a:pt x="133369" y="217776"/>
                  <a:pt x="182750" y="266255"/>
                </a:cubicBezTo>
                <a:lnTo>
                  <a:pt x="182703" y="266255"/>
                </a:lnTo>
                <a:cubicBezTo>
                  <a:pt x="134702" y="294686"/>
                  <a:pt x="98130" y="338974"/>
                  <a:pt x="79225" y="391454"/>
                </a:cubicBezTo>
                <a:lnTo>
                  <a:pt x="19701" y="391454"/>
                </a:lnTo>
                <a:cubicBezTo>
                  <a:pt x="7558" y="391549"/>
                  <a:pt x="-1728" y="380596"/>
                  <a:pt x="272" y="368643"/>
                </a:cubicBezTo>
                <a:cubicBezTo>
                  <a:pt x="8463" y="322450"/>
                  <a:pt x="39653" y="283685"/>
                  <a:pt x="82987" y="265827"/>
                </a:cubicBezTo>
                <a:cubicBezTo>
                  <a:pt x="88844" y="263446"/>
                  <a:pt x="89606" y="255493"/>
                  <a:pt x="84321" y="252064"/>
                </a:cubicBezTo>
                <a:cubicBezTo>
                  <a:pt x="48558" y="229110"/>
                  <a:pt x="32749" y="184917"/>
                  <a:pt x="45844" y="144438"/>
                </a:cubicBezTo>
                <a:cubicBezTo>
                  <a:pt x="58987" y="104007"/>
                  <a:pt x="97702" y="77481"/>
                  <a:pt x="140131" y="79862"/>
                </a:cubicBezTo>
                <a:close/>
                <a:moveTo>
                  <a:pt x="312419" y="209"/>
                </a:moveTo>
                <a:cubicBezTo>
                  <a:pt x="385950" y="4067"/>
                  <a:pt x="444622" y="64840"/>
                  <a:pt x="446289" y="138475"/>
                </a:cubicBezTo>
                <a:cubicBezTo>
                  <a:pt x="447385" y="187580"/>
                  <a:pt x="422906" y="233779"/>
                  <a:pt x="381616" y="260451"/>
                </a:cubicBezTo>
                <a:cubicBezTo>
                  <a:pt x="373520" y="265595"/>
                  <a:pt x="374663" y="277740"/>
                  <a:pt x="383521" y="281312"/>
                </a:cubicBezTo>
                <a:cubicBezTo>
                  <a:pt x="449004" y="308318"/>
                  <a:pt x="496104" y="366901"/>
                  <a:pt x="508439" y="436629"/>
                </a:cubicBezTo>
                <a:cubicBezTo>
                  <a:pt x="511534" y="454728"/>
                  <a:pt x="497533" y="471207"/>
                  <a:pt x="479197" y="471112"/>
                </a:cubicBezTo>
                <a:lnTo>
                  <a:pt x="130352" y="471112"/>
                </a:lnTo>
                <a:cubicBezTo>
                  <a:pt x="111969" y="471207"/>
                  <a:pt x="97968" y="454728"/>
                  <a:pt x="101064" y="436629"/>
                </a:cubicBezTo>
                <a:cubicBezTo>
                  <a:pt x="113398" y="366901"/>
                  <a:pt x="160498" y="308270"/>
                  <a:pt x="225981" y="281265"/>
                </a:cubicBezTo>
                <a:cubicBezTo>
                  <a:pt x="234792" y="277645"/>
                  <a:pt x="235935" y="265643"/>
                  <a:pt x="227934" y="260451"/>
                </a:cubicBezTo>
                <a:cubicBezTo>
                  <a:pt x="174023" y="225635"/>
                  <a:pt x="150307" y="158907"/>
                  <a:pt x="170118" y="97848"/>
                </a:cubicBezTo>
                <a:cubicBezTo>
                  <a:pt x="189930" y="36787"/>
                  <a:pt x="248317" y="-3268"/>
                  <a:pt x="312419" y="20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741014" y="1855954"/>
            <a:ext cx="115200" cy="360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89364" y="1855954"/>
            <a:ext cx="115200" cy="28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201603" y="2215954"/>
            <a:ext cx="115200" cy="21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5388974" y="2615029"/>
            <a:ext cx="115200" cy="144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3" name="直接箭头连接符 2"/>
          <p:cNvCxnSpPr>
            <a:endCxn id="105" idx="1"/>
          </p:cNvCxnSpPr>
          <p:nvPr/>
        </p:nvCxnSpPr>
        <p:spPr>
          <a:xfrm>
            <a:off x="856395" y="1938527"/>
            <a:ext cx="91049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 flipV="1">
            <a:off x="1856214" y="2025176"/>
            <a:ext cx="1129294" cy="662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>
            <a:off x="3104564" y="2367862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/>
          <p:nvPr/>
        </p:nvCxnSpPr>
        <p:spPr>
          <a:xfrm>
            <a:off x="4317561" y="2735970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/>
          <p:cNvCxnSpPr/>
          <p:nvPr/>
        </p:nvCxnSpPr>
        <p:spPr>
          <a:xfrm>
            <a:off x="4324412" y="3988301"/>
            <a:ext cx="1080000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箭头连接符 65"/>
          <p:cNvCxnSpPr/>
          <p:nvPr/>
        </p:nvCxnSpPr>
        <p:spPr>
          <a:xfrm flipV="1">
            <a:off x="3105119" y="4307830"/>
            <a:ext cx="1049803" cy="1136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/>
          <p:nvPr/>
        </p:nvCxnSpPr>
        <p:spPr>
          <a:xfrm flipV="1">
            <a:off x="1873611" y="4633415"/>
            <a:ext cx="1122847" cy="8924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/>
          <p:nvPr/>
        </p:nvCxnSpPr>
        <p:spPr>
          <a:xfrm flipV="1">
            <a:off x="856395" y="5257046"/>
            <a:ext cx="884619" cy="270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277129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客户服务端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7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518442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开放平台网关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7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720680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主站服务</a:t>
            </a:r>
            <a:r>
              <a:rPr lang="en-US" altLang="zh-CN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ertify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8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914915" y="801267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云上服务</a:t>
            </a:r>
            <a:r>
              <a:rPr lang="en-US" altLang="zh-CN" sz="1050" dirty="0" err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zhub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567767" y="2759804"/>
            <a:ext cx="115200" cy="108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94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6093708" y="805369"/>
            <a:ext cx="1057044" cy="43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05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远程核验源</a:t>
            </a:r>
            <a:endParaRPr 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cxnSp>
        <p:nvCxnSpPr>
          <p:cNvPr id="95" name="直接箭头连接符 94"/>
          <p:cNvCxnSpPr/>
          <p:nvPr/>
        </p:nvCxnSpPr>
        <p:spPr>
          <a:xfrm>
            <a:off x="5504174" y="2888370"/>
            <a:ext cx="1080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箭头连接符 103"/>
          <p:cNvCxnSpPr/>
          <p:nvPr/>
        </p:nvCxnSpPr>
        <p:spPr>
          <a:xfrm>
            <a:off x="5498814" y="3472763"/>
            <a:ext cx="1080000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772190" y="1712364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发起实名认证请求</a:t>
            </a:r>
            <a:endParaRPr lang="zh-CN" altLang="en-US" sz="900" dirty="0"/>
          </a:p>
        </p:txBody>
      </p:sp>
      <p:sp>
        <p:nvSpPr>
          <p:cNvPr id="105" name="文本框 104"/>
          <p:cNvSpPr txBox="1"/>
          <p:nvPr/>
        </p:nvSpPr>
        <p:spPr>
          <a:xfrm>
            <a:off x="1766894" y="1823111"/>
            <a:ext cx="127951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调用开放平台</a:t>
            </a:r>
            <a:r>
              <a:rPr lang="en-US" altLang="zh-CN" sz="900" dirty="0" smtClean="0"/>
              <a:t>SDK API</a:t>
            </a:r>
            <a:endParaRPr lang="zh-CN" altLang="en-US" sz="900" dirty="0"/>
          </a:p>
        </p:txBody>
      </p:sp>
      <p:sp>
        <p:nvSpPr>
          <p:cNvPr id="106" name="文本框 105"/>
          <p:cNvSpPr txBox="1"/>
          <p:nvPr/>
        </p:nvSpPr>
        <p:spPr>
          <a:xfrm>
            <a:off x="3032748" y="2137030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主站服务处理请求</a:t>
            </a:r>
            <a:endParaRPr lang="zh-CN" altLang="en-US" sz="900" dirty="0"/>
          </a:p>
        </p:txBody>
      </p:sp>
      <p:sp>
        <p:nvSpPr>
          <p:cNvPr id="107" name="文本框 106"/>
          <p:cNvSpPr txBox="1"/>
          <p:nvPr/>
        </p:nvSpPr>
        <p:spPr>
          <a:xfrm>
            <a:off x="4233755" y="2499613"/>
            <a:ext cx="11448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OP</a:t>
            </a:r>
            <a:r>
              <a:rPr lang="zh-CN" altLang="en-US" sz="900" dirty="0" smtClean="0"/>
              <a:t>转发到云上服务</a:t>
            </a:r>
            <a:endParaRPr lang="zh-CN" altLang="en-US" sz="900" dirty="0"/>
          </a:p>
        </p:txBody>
      </p:sp>
      <p:sp>
        <p:nvSpPr>
          <p:cNvPr id="108" name="文本框 107"/>
          <p:cNvSpPr txBox="1"/>
          <p:nvPr/>
        </p:nvSpPr>
        <p:spPr>
          <a:xfrm>
            <a:off x="5422260" y="2656930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请求远程核验接口</a:t>
            </a:r>
            <a:endParaRPr lang="zh-CN" altLang="en-US" sz="900" dirty="0"/>
          </a:p>
        </p:txBody>
      </p:sp>
      <p:sp>
        <p:nvSpPr>
          <p:cNvPr id="109" name="文本框 108"/>
          <p:cNvSpPr txBox="1"/>
          <p:nvPr/>
        </p:nvSpPr>
        <p:spPr>
          <a:xfrm>
            <a:off x="5415203" y="3253751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0" name="文本框 109"/>
          <p:cNvSpPr txBox="1"/>
          <p:nvPr/>
        </p:nvSpPr>
        <p:spPr>
          <a:xfrm>
            <a:off x="4239996" y="3757469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1" name="文本框 110"/>
          <p:cNvSpPr txBox="1"/>
          <p:nvPr/>
        </p:nvSpPr>
        <p:spPr>
          <a:xfrm>
            <a:off x="3019755" y="4076998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2" name="文本框 111"/>
          <p:cNvSpPr txBox="1"/>
          <p:nvPr/>
        </p:nvSpPr>
        <p:spPr>
          <a:xfrm>
            <a:off x="1772858" y="4411507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13" name="文本框 112"/>
          <p:cNvSpPr txBox="1"/>
          <p:nvPr/>
        </p:nvSpPr>
        <p:spPr>
          <a:xfrm>
            <a:off x="772190" y="5026214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返回对比结果</a:t>
            </a:r>
            <a:endParaRPr lang="zh-CN" altLang="en-US" sz="900" dirty="0"/>
          </a:p>
        </p:txBody>
      </p:sp>
      <p:sp>
        <p:nvSpPr>
          <p:cNvPr id="159" name="文本框 158"/>
          <p:cNvSpPr txBox="1"/>
          <p:nvPr/>
        </p:nvSpPr>
        <p:spPr>
          <a:xfrm>
            <a:off x="5034591" y="3581143"/>
            <a:ext cx="1082562" cy="234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 smtClean="0"/>
              <a:t>留底</a:t>
            </a:r>
            <a:r>
              <a:rPr lang="en-US" altLang="zh-CN" sz="900" dirty="0" smtClean="0"/>
              <a:t>/</a:t>
            </a:r>
            <a:r>
              <a:rPr lang="zh-CN" altLang="en-US" sz="900" dirty="0" smtClean="0"/>
              <a:t>存入缓存</a:t>
            </a:r>
            <a:endParaRPr lang="zh-CN" altLang="en-US" sz="900" dirty="0"/>
          </a:p>
        </p:txBody>
      </p:sp>
    </p:spTree>
    <p:extLst>
      <p:ext uri="{BB962C8B-B14F-4D97-AF65-F5344CB8AC3E}">
        <p14:creationId xmlns:p14="http://schemas.microsoft.com/office/powerpoint/2010/main" val="123023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640e8c74-3725-41b3-b787-53dc2709485e"/>
  <p:tag name="COMMONDATA" val="eyJoZGlkIjoiMjNmZWZiY2E1NGVhOTUxMTMzMWIwYjQ3MmVkNjQ4MDA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0主题1">
  <a:themeElements>
    <a:clrScheme name="气流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C8450"/>
      </a:accent1>
      <a:accent2>
        <a:srgbClr val="27BB69"/>
      </a:accent2>
      <a:accent3>
        <a:srgbClr val="24A6DC"/>
      </a:accent3>
      <a:accent4>
        <a:srgbClr val="E3514B"/>
      </a:accent4>
      <a:accent5>
        <a:srgbClr val="838079"/>
      </a:accent5>
      <a:accent6>
        <a:srgbClr val="B3B3B3"/>
      </a:accent6>
      <a:hlink>
        <a:srgbClr val="4472C4"/>
      </a:hlink>
      <a:folHlink>
        <a:srgbClr val="BFBFB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  <a:prstDash val="solid"/>
        </a:ln>
      </a:spPr>
      <a:bodyPr rtlCol="0" anchor="t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noProof="0" dirty="0">
            <a:solidFill>
              <a:schemeClr val="tx1"/>
            </a:solidFill>
            <a:latin typeface="幼圆" panose="02010509060101010101" pitchFamily="49" charset="-122"/>
            <a:ea typeface="幼圆" panose="02010509060101010101" pitchFamily="49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360主题1" id="{4225B6B1-3B77-498C-87AB-2CB29C99590B}" vid="{543D8FFF-9103-4C0E-BA0A-BC11B31F9915}"/>
    </a:ext>
  </a:extLst>
</a:theme>
</file>

<file path=ppt/theme/theme3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7</TotalTime>
  <Words>2184</Words>
  <Application>Microsoft Office PowerPoint</Application>
  <PresentationFormat>宽屏</PresentationFormat>
  <Paragraphs>349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31" baseType="lpstr">
      <vt:lpstr>Arial Unicode MS</vt:lpstr>
      <vt:lpstr>Hiragino Sans GB W3</vt:lpstr>
      <vt:lpstr>Microsoft YaHei Light</vt:lpstr>
      <vt:lpstr>等线</vt:lpstr>
      <vt:lpstr>等线 Light</vt:lpstr>
      <vt:lpstr>方正兰亭粗黑简体</vt:lpstr>
      <vt:lpstr>方正兰亭黑简体</vt:lpstr>
      <vt:lpstr>方正兰亭中黑_GBK</vt:lpstr>
      <vt:lpstr>方正兰亭准黑_GBK</vt:lpstr>
      <vt:lpstr>宋体</vt:lpstr>
      <vt:lpstr>微软雅黑</vt:lpstr>
      <vt:lpstr>微软雅黑</vt:lpstr>
      <vt:lpstr>微软雅黑 Light</vt:lpstr>
      <vt:lpstr>幼圆</vt:lpstr>
      <vt:lpstr>Arial</vt:lpstr>
      <vt:lpstr>Segoe UI</vt:lpstr>
      <vt:lpstr>Wingdings</vt:lpstr>
      <vt:lpstr>Office 主题​​</vt:lpstr>
      <vt:lpstr>360主题1</vt:lpstr>
      <vt:lpstr>1_Office 主题​​</vt:lpstr>
      <vt:lpstr>think-cell 幻灯片</vt:lpstr>
      <vt:lpstr>PowerPoint 演示文稿</vt:lpstr>
      <vt:lpstr>自动化测试解耦--解析研判工具</vt:lpstr>
      <vt:lpstr>自动化测试工具-问答结果相似度测试</vt:lpstr>
      <vt:lpstr>自动化测试工具-问答结果相似度测试</vt:lpstr>
      <vt:lpstr>问题解决逻辑举例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36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登峰</dc:creator>
  <cp:lastModifiedBy>张登峰</cp:lastModifiedBy>
  <cp:revision>365</cp:revision>
  <dcterms:created xsi:type="dcterms:W3CDTF">2022-10-17T04:42:00Z</dcterms:created>
  <dcterms:modified xsi:type="dcterms:W3CDTF">2025-03-19T00:1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F70619E007A427287340D5819DC02F5</vt:lpwstr>
  </property>
  <property fmtid="{D5CDD505-2E9C-101B-9397-08002B2CF9AE}" pid="3" name="KSOProductBuildVer">
    <vt:lpwstr>2052-11.1.0.12763</vt:lpwstr>
  </property>
</Properties>
</file>